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ink/ink1.xml" ContentType="application/inkml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9"/>
  </p:notesMasterIdLst>
  <p:handoutMasterIdLst>
    <p:handoutMasterId r:id="rId30"/>
  </p:handoutMasterIdLst>
  <p:sldIdLst>
    <p:sldId id="6638" r:id="rId5"/>
    <p:sldId id="6691" r:id="rId6"/>
    <p:sldId id="6703" r:id="rId7"/>
    <p:sldId id="6704" r:id="rId8"/>
    <p:sldId id="6705" r:id="rId9"/>
    <p:sldId id="6707" r:id="rId10"/>
    <p:sldId id="6708" r:id="rId11"/>
    <p:sldId id="6709" r:id="rId12"/>
    <p:sldId id="6710" r:id="rId13"/>
    <p:sldId id="6711" r:id="rId14"/>
    <p:sldId id="6712" r:id="rId15"/>
    <p:sldId id="6702" r:id="rId16"/>
    <p:sldId id="6700" r:id="rId17"/>
    <p:sldId id="6692" r:id="rId18"/>
    <p:sldId id="6713" r:id="rId19"/>
    <p:sldId id="6714" r:id="rId20"/>
    <p:sldId id="6693" r:id="rId21"/>
    <p:sldId id="6694" r:id="rId22"/>
    <p:sldId id="6716" r:id="rId23"/>
    <p:sldId id="6717" r:id="rId24"/>
    <p:sldId id="6718" r:id="rId25"/>
    <p:sldId id="6695" r:id="rId26"/>
    <p:sldId id="6720" r:id="rId27"/>
    <p:sldId id="6719" r:id="rId28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 &amp; outro's" id="{59AD3652-BC47-498A-B5F9-609C57AF32E8}">
          <p14:sldIdLst>
            <p14:sldId id="6638"/>
            <p14:sldId id="6691"/>
            <p14:sldId id="6703"/>
            <p14:sldId id="6704"/>
            <p14:sldId id="6705"/>
            <p14:sldId id="6707"/>
            <p14:sldId id="6708"/>
            <p14:sldId id="6709"/>
            <p14:sldId id="6710"/>
            <p14:sldId id="6711"/>
            <p14:sldId id="6712"/>
            <p14:sldId id="6702"/>
            <p14:sldId id="6700"/>
            <p14:sldId id="6692"/>
            <p14:sldId id="6713"/>
            <p14:sldId id="6714"/>
            <p14:sldId id="6693"/>
            <p14:sldId id="6694"/>
            <p14:sldId id="6716"/>
            <p14:sldId id="6717"/>
            <p14:sldId id="6718"/>
            <p14:sldId id="6695"/>
            <p14:sldId id="6720"/>
            <p14:sldId id="6719"/>
          </p14:sldIdLst>
        </p14:section>
        <p14:section name="Tekstdia's" id="{F80A9112-5F00-4FA6-8FD6-917FDFA44B6A}">
          <p14:sldIdLst/>
        </p14:section>
        <p14:section name="Grafieken en tabellen" id="{AD34B797-8DEE-41E2-A414-DFBAAA63DA8A}">
          <p14:sldIdLst/>
        </p14:section>
      </p14:sectionLst>
    </p:ext>
    <p:ext uri="{EFAFB233-063F-42B5-8137-9DF3F51BA10A}">
      <p15:sldGuideLst xmlns:p15="http://schemas.microsoft.com/office/powerpoint/2012/main">
        <p15:guide id="2" pos="4611" userDrawn="1">
          <p15:clr>
            <a:srgbClr val="547EBF"/>
          </p15:clr>
        </p15:guide>
        <p15:guide id="5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Toon Tesser" initials="TT" lastIdx="10" clrIdx="6">
    <p:extLst>
      <p:ext uri="{19B8F6BF-5375-455C-9EA6-DF929625EA0E}">
        <p15:presenceInfo xmlns:p15="http://schemas.microsoft.com/office/powerpoint/2012/main" userId="S::toon@nosuch.nl::bd275a09-d1ba-4db7-87ca-589039cc23da" providerId="AD"/>
      </p:ext>
    </p:extLst>
  </p:cmAuthor>
  <p:cmAuthor id="1" name="Eline Schoe" initials="ES" lastIdx="116" clrIdx="0">
    <p:extLst>
      <p:ext uri="{19B8F6BF-5375-455C-9EA6-DF929625EA0E}">
        <p15:presenceInfo xmlns:p15="http://schemas.microsoft.com/office/powerpoint/2012/main" userId="S::eline@pptstudios.nl::7e4c73be-f3d4-44a9-856c-7951ddeb280c" providerId="AD"/>
      </p:ext>
    </p:extLst>
  </p:cmAuthor>
  <p:cmAuthor id="8" name="Sera de Vries" initials="SdV" lastIdx="4" clrIdx="7">
    <p:extLst>
      <p:ext uri="{19B8F6BF-5375-455C-9EA6-DF929625EA0E}">
        <p15:presenceInfo xmlns:p15="http://schemas.microsoft.com/office/powerpoint/2012/main" userId="S::sera@pptsolutions.nl::3303f409-83b3-4a68-9145-6c8f86f24839" providerId="AD"/>
      </p:ext>
    </p:extLst>
  </p:cmAuthor>
  <p:cmAuthor id="2" name="Rooijen, Marlies van" initials="RMv" lastIdx="52" clrIdx="1">
    <p:extLst>
      <p:ext uri="{19B8F6BF-5375-455C-9EA6-DF929625EA0E}">
        <p15:presenceInfo xmlns:p15="http://schemas.microsoft.com/office/powerpoint/2012/main" userId="S::Marlies.van.Rooijen@enexis.nl::c7aec501-7c39-41e1-8dde-c6a337a0e113" providerId="AD"/>
      </p:ext>
    </p:extLst>
  </p:cmAuthor>
  <p:cmAuthor id="9" name="Martyna Dziarnowska" initials="MD" lastIdx="1" clrIdx="8">
    <p:extLst>
      <p:ext uri="{19B8F6BF-5375-455C-9EA6-DF929625EA0E}">
        <p15:presenceInfo xmlns:p15="http://schemas.microsoft.com/office/powerpoint/2012/main" userId="S::martyna@pptsolutions.nl::86dfe841-816e-4f6c-a274-8b345ffb85d3" providerId="AD"/>
      </p:ext>
    </p:extLst>
  </p:cmAuthor>
  <p:cmAuthor id="3" name="Zijlemans, Maartje" initials="ZM" lastIdx="99" clrIdx="2">
    <p:extLst>
      <p:ext uri="{19B8F6BF-5375-455C-9EA6-DF929625EA0E}">
        <p15:presenceInfo xmlns:p15="http://schemas.microsoft.com/office/powerpoint/2012/main" userId="S::Maartje.Zijlemans@enexis.nl::fb9bb596-e30a-41c7-8023-b4cf69ed46cd" providerId="AD"/>
      </p:ext>
    </p:extLst>
  </p:cmAuthor>
  <p:cmAuthor id="4" name="Diana van den Berg" initials="DvdB" lastIdx="19" clrIdx="3">
    <p:extLst>
      <p:ext uri="{19B8F6BF-5375-455C-9EA6-DF929625EA0E}">
        <p15:presenceInfo xmlns:p15="http://schemas.microsoft.com/office/powerpoint/2012/main" userId="S::diana@pptsolutions.nl::23f41a6e-e258-490e-836a-3bfeb97dfcde" providerId="AD"/>
      </p:ext>
    </p:extLst>
  </p:cmAuthor>
  <p:cmAuthor id="5" name="Victor Hurks" initials="VH" lastIdx="38" clrIdx="4">
    <p:extLst>
      <p:ext uri="{19B8F6BF-5375-455C-9EA6-DF929625EA0E}">
        <p15:presenceInfo xmlns:p15="http://schemas.microsoft.com/office/powerpoint/2012/main" userId="S::victor@pptsolutions.nl::e167889c-9689-4d68-9f16-74eb60f289ff" providerId="AD"/>
      </p:ext>
    </p:extLst>
  </p:cmAuthor>
  <p:cmAuthor id="6" name="Daniël Stals" initials="DS" lastIdx="9" clrIdx="5">
    <p:extLst>
      <p:ext uri="{19B8F6BF-5375-455C-9EA6-DF929625EA0E}">
        <p15:presenceInfo xmlns:p15="http://schemas.microsoft.com/office/powerpoint/2012/main" userId="S::daniel@pptsolutions.nl::172c887d-71af-4ec6-b54a-54174665bc3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FF66"/>
    <a:srgbClr val="C9C9C9"/>
    <a:srgbClr val="C2D200"/>
    <a:srgbClr val="D5E04E"/>
    <a:srgbClr val="D0DC3B"/>
    <a:srgbClr val="DE0073"/>
    <a:srgbClr val="D82C5C"/>
    <a:srgbClr val="D77A94"/>
    <a:srgbClr val="E570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274849-0565-4274-8658-387536A0B1C0}" v="736" dt="2025-10-07T15:11:45.36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3137" autoAdjust="0"/>
  </p:normalViewPr>
  <p:slideViewPr>
    <p:cSldViewPr snapToGrid="0">
      <p:cViewPr>
        <p:scale>
          <a:sx n="50" d="100"/>
          <a:sy n="50" d="100"/>
        </p:scale>
        <p:origin x="1284" y="288"/>
      </p:cViewPr>
      <p:guideLst>
        <p:guide pos="4611"/>
        <p:guide orient="horz" pos="218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5" d="100"/>
          <a:sy n="65" d="100"/>
        </p:scale>
        <p:origin x="2285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oel, Anne" userId="950c4e0f-aded-4da6-93ea-ff431cabaa6f" providerId="ADAL" clId="{55274849-0565-4274-8658-387536A0B1C0}"/>
    <pc:docChg chg="undo custSel addSld delSld modSld sldOrd modSection">
      <pc:chgData name="Stoel, Anne" userId="950c4e0f-aded-4da6-93ea-ff431cabaa6f" providerId="ADAL" clId="{55274849-0565-4274-8658-387536A0B1C0}" dt="2025-10-07T15:16:09.246" v="6919" actId="20577"/>
      <pc:docMkLst>
        <pc:docMk/>
      </pc:docMkLst>
      <pc:sldChg chg="del">
        <pc:chgData name="Stoel, Anne" userId="950c4e0f-aded-4da6-93ea-ff431cabaa6f" providerId="ADAL" clId="{55274849-0565-4274-8658-387536A0B1C0}" dt="2025-09-25T08:58:44.973" v="2512" actId="2696"/>
        <pc:sldMkLst>
          <pc:docMk/>
          <pc:sldMk cId="3667361606" sldId="6686"/>
        </pc:sldMkLst>
      </pc:sldChg>
      <pc:sldChg chg="del">
        <pc:chgData name="Stoel, Anne" userId="950c4e0f-aded-4da6-93ea-ff431cabaa6f" providerId="ADAL" clId="{55274849-0565-4274-8658-387536A0B1C0}" dt="2025-09-25T08:58:44.973" v="2512" actId="2696"/>
        <pc:sldMkLst>
          <pc:docMk/>
          <pc:sldMk cId="1139335330" sldId="6687"/>
        </pc:sldMkLst>
      </pc:sldChg>
      <pc:sldChg chg="del">
        <pc:chgData name="Stoel, Anne" userId="950c4e0f-aded-4da6-93ea-ff431cabaa6f" providerId="ADAL" clId="{55274849-0565-4274-8658-387536A0B1C0}" dt="2025-09-25T08:58:44.973" v="2512" actId="2696"/>
        <pc:sldMkLst>
          <pc:docMk/>
          <pc:sldMk cId="3439698363" sldId="6688"/>
        </pc:sldMkLst>
      </pc:sldChg>
      <pc:sldChg chg="addSp delSp modSp new del mod modClrScheme chgLayout">
        <pc:chgData name="Stoel, Anne" userId="950c4e0f-aded-4da6-93ea-ff431cabaa6f" providerId="ADAL" clId="{55274849-0565-4274-8658-387536A0B1C0}" dt="2025-10-06T21:24:03.723" v="5225" actId="2696"/>
        <pc:sldMkLst>
          <pc:docMk/>
          <pc:sldMk cId="1226711112" sldId="6689"/>
        </pc:sldMkLst>
      </pc:sldChg>
      <pc:sldChg chg="new del">
        <pc:chgData name="Stoel, Anne" userId="950c4e0f-aded-4da6-93ea-ff431cabaa6f" providerId="ADAL" clId="{55274849-0565-4274-8658-387536A0B1C0}" dt="2025-10-06T20:37:27.991" v="4442" actId="2696"/>
        <pc:sldMkLst>
          <pc:docMk/>
          <pc:sldMk cId="1833865347" sldId="6690"/>
        </pc:sldMkLst>
      </pc:sldChg>
      <pc:sldChg chg="addSp delSp modSp add mod ord modClrScheme chgLayout">
        <pc:chgData name="Stoel, Anne" userId="950c4e0f-aded-4da6-93ea-ff431cabaa6f" providerId="ADAL" clId="{55274849-0565-4274-8658-387536A0B1C0}" dt="2025-10-06T19:37:06.478" v="2981"/>
        <pc:sldMkLst>
          <pc:docMk/>
          <pc:sldMk cId="2835728885" sldId="6691"/>
        </pc:sldMkLst>
        <pc:spChg chg="add mod">
          <ac:chgData name="Stoel, Anne" userId="950c4e0f-aded-4da6-93ea-ff431cabaa6f" providerId="ADAL" clId="{55274849-0565-4274-8658-387536A0B1C0}" dt="2025-09-25T07:47:53.437" v="170" actId="20577"/>
          <ac:spMkLst>
            <pc:docMk/>
            <pc:sldMk cId="2835728885" sldId="6691"/>
            <ac:spMk id="4" creationId="{4E98D968-AEAB-AA45-5470-7B8698928A51}"/>
          </ac:spMkLst>
        </pc:spChg>
        <pc:spChg chg="add mod">
          <ac:chgData name="Stoel, Anne" userId="950c4e0f-aded-4da6-93ea-ff431cabaa6f" providerId="ADAL" clId="{55274849-0565-4274-8658-387536A0B1C0}" dt="2025-10-06T19:37:06.478" v="2981"/>
          <ac:spMkLst>
            <pc:docMk/>
            <pc:sldMk cId="2835728885" sldId="6691"/>
            <ac:spMk id="8" creationId="{6107704B-DC3E-4B29-ACE9-C8640120B8CD}"/>
          </ac:spMkLst>
        </pc:spChg>
        <pc:spChg chg="add mod">
          <ac:chgData name="Stoel, Anne" userId="950c4e0f-aded-4da6-93ea-ff431cabaa6f" providerId="ADAL" clId="{55274849-0565-4274-8658-387536A0B1C0}" dt="2025-09-25T07:47:31.511" v="163" actId="26606"/>
          <ac:spMkLst>
            <pc:docMk/>
            <pc:sldMk cId="2835728885" sldId="6691"/>
            <ac:spMk id="9" creationId="{8F8CE9E9-9608-1B95-948A-F8A6760BC441}"/>
          </ac:spMkLst>
        </pc:spChg>
        <pc:spChg chg="add mod">
          <ac:chgData name="Stoel, Anne" userId="950c4e0f-aded-4da6-93ea-ff431cabaa6f" providerId="ADAL" clId="{55274849-0565-4274-8658-387536A0B1C0}" dt="2025-09-25T07:47:31.511" v="163" actId="26606"/>
          <ac:spMkLst>
            <pc:docMk/>
            <pc:sldMk cId="2835728885" sldId="6691"/>
            <ac:spMk id="11" creationId="{71512E3E-84E9-58EC-58CC-4957D800EE6B}"/>
          </ac:spMkLst>
        </pc:spChg>
        <pc:graphicFrameChg chg="add mod">
          <ac:chgData name="Stoel, Anne" userId="950c4e0f-aded-4da6-93ea-ff431cabaa6f" providerId="ADAL" clId="{55274849-0565-4274-8658-387536A0B1C0}" dt="2025-09-25T07:48:36.779" v="205" actId="20577"/>
          <ac:graphicFrameMkLst>
            <pc:docMk/>
            <pc:sldMk cId="2835728885" sldId="6691"/>
            <ac:graphicFrameMk id="5" creationId="{637D9AFB-94C3-2007-18E5-E7DEA6396EE7}"/>
          </ac:graphicFrameMkLst>
        </pc:graphicFrameChg>
      </pc:sldChg>
      <pc:sldChg chg="addSp delSp modSp add mod">
        <pc:chgData name="Stoel, Anne" userId="950c4e0f-aded-4da6-93ea-ff431cabaa6f" providerId="ADAL" clId="{55274849-0565-4274-8658-387536A0B1C0}" dt="2025-10-07T11:03:19.745" v="5719" actId="1076"/>
        <pc:sldMkLst>
          <pc:docMk/>
          <pc:sldMk cId="3458443660" sldId="6692"/>
        </pc:sldMkLst>
        <pc:spChg chg="mod">
          <ac:chgData name="Stoel, Anne" userId="950c4e0f-aded-4da6-93ea-ff431cabaa6f" providerId="ADAL" clId="{55274849-0565-4274-8658-387536A0B1C0}" dt="2025-09-25T07:51:22.564" v="427" actId="20577"/>
          <ac:spMkLst>
            <pc:docMk/>
            <pc:sldMk cId="3458443660" sldId="6692"/>
            <ac:spMk id="3" creationId="{C4CF492D-D4A0-F112-B9CC-F38DC2B75649}"/>
          </ac:spMkLst>
        </pc:spChg>
        <pc:spChg chg="add mod">
          <ac:chgData name="Stoel, Anne" userId="950c4e0f-aded-4da6-93ea-ff431cabaa6f" providerId="ADAL" clId="{55274849-0565-4274-8658-387536A0B1C0}" dt="2025-10-06T21:14:15.696" v="4980" actId="404"/>
          <ac:spMkLst>
            <pc:docMk/>
            <pc:sldMk cId="3458443660" sldId="6692"/>
            <ac:spMk id="7" creationId="{8410F64A-0F20-2246-7644-4A96156BA95C}"/>
          </ac:spMkLst>
        </pc:spChg>
        <pc:picChg chg="add del mod">
          <ac:chgData name="Stoel, Anne" userId="950c4e0f-aded-4da6-93ea-ff431cabaa6f" providerId="ADAL" clId="{55274849-0565-4274-8658-387536A0B1C0}" dt="2025-10-06T21:12:04.022" v="4879" actId="478"/>
          <ac:picMkLst>
            <pc:docMk/>
            <pc:sldMk cId="3458443660" sldId="6692"/>
            <ac:picMk id="2" creationId="{08ADBEFE-0853-2553-15F6-4B4A34B8D867}"/>
          </ac:picMkLst>
        </pc:picChg>
        <pc:picChg chg="add del mod">
          <ac:chgData name="Stoel, Anne" userId="950c4e0f-aded-4da6-93ea-ff431cabaa6f" providerId="ADAL" clId="{55274849-0565-4274-8658-387536A0B1C0}" dt="2025-10-06T21:11:59.854" v="4877" actId="478"/>
          <ac:picMkLst>
            <pc:docMk/>
            <pc:sldMk cId="3458443660" sldId="6692"/>
            <ac:picMk id="4" creationId="{B5396917-8861-61EA-11B9-598F2EA80973}"/>
          </ac:picMkLst>
        </pc:picChg>
        <pc:picChg chg="add mod">
          <ac:chgData name="Stoel, Anne" userId="950c4e0f-aded-4da6-93ea-ff431cabaa6f" providerId="ADAL" clId="{55274849-0565-4274-8658-387536A0B1C0}" dt="2025-10-07T11:03:19.745" v="5719" actId="1076"/>
          <ac:picMkLst>
            <pc:docMk/>
            <pc:sldMk cId="3458443660" sldId="6692"/>
            <ac:picMk id="5" creationId="{F571274F-69B8-96CB-8EAB-09675832EA4C}"/>
          </ac:picMkLst>
        </pc:picChg>
        <pc:picChg chg="add del mod">
          <ac:chgData name="Stoel, Anne" userId="950c4e0f-aded-4da6-93ea-ff431cabaa6f" providerId="ADAL" clId="{55274849-0565-4274-8658-387536A0B1C0}" dt="2025-10-06T21:12:02.803" v="4878" actId="478"/>
          <ac:picMkLst>
            <pc:docMk/>
            <pc:sldMk cId="3458443660" sldId="6692"/>
            <ac:picMk id="6" creationId="{762FC2A9-A956-EBD7-F98B-C71110A1315F}"/>
          </ac:picMkLst>
        </pc:picChg>
      </pc:sldChg>
      <pc:sldChg chg="addSp delSp modSp add mod">
        <pc:chgData name="Stoel, Anne" userId="950c4e0f-aded-4da6-93ea-ff431cabaa6f" providerId="ADAL" clId="{55274849-0565-4274-8658-387536A0B1C0}" dt="2025-10-07T12:51:49.474" v="5981" actId="113"/>
        <pc:sldMkLst>
          <pc:docMk/>
          <pc:sldMk cId="2968896154" sldId="6693"/>
        </pc:sldMkLst>
        <pc:spChg chg="mod">
          <ac:chgData name="Stoel, Anne" userId="950c4e0f-aded-4da6-93ea-ff431cabaa6f" providerId="ADAL" clId="{55274849-0565-4274-8658-387536A0B1C0}" dt="2025-09-25T07:53:56.372" v="662" actId="20577"/>
          <ac:spMkLst>
            <pc:docMk/>
            <pc:sldMk cId="2968896154" sldId="6693"/>
            <ac:spMk id="3" creationId="{B5368CAE-5D39-11B9-4E0D-DFD35B647056}"/>
          </ac:spMkLst>
        </pc:spChg>
        <pc:spChg chg="del mod">
          <ac:chgData name="Stoel, Anne" userId="950c4e0f-aded-4da6-93ea-ff431cabaa6f" providerId="ADAL" clId="{55274849-0565-4274-8658-387536A0B1C0}" dt="2025-10-07T11:53:10.801" v="5725" actId="478"/>
          <ac:spMkLst>
            <pc:docMk/>
            <pc:sldMk cId="2968896154" sldId="6693"/>
            <ac:spMk id="4" creationId="{10573D83-F8BE-083D-0CE3-7BE103C75DC9}"/>
          </ac:spMkLst>
        </pc:spChg>
        <pc:spChg chg="add mod">
          <ac:chgData name="Stoel, Anne" userId="950c4e0f-aded-4da6-93ea-ff431cabaa6f" providerId="ADAL" clId="{55274849-0565-4274-8658-387536A0B1C0}" dt="2025-10-07T12:51:49.474" v="5981" actId="113"/>
          <ac:spMkLst>
            <pc:docMk/>
            <pc:sldMk cId="2968896154" sldId="6693"/>
            <ac:spMk id="11" creationId="{8194E51F-426C-1459-66BA-391EFF751642}"/>
          </ac:spMkLst>
        </pc:spChg>
        <pc:graphicFrameChg chg="add mod">
          <ac:chgData name="Stoel, Anne" userId="950c4e0f-aded-4da6-93ea-ff431cabaa6f" providerId="ADAL" clId="{55274849-0565-4274-8658-387536A0B1C0}" dt="2025-10-07T11:53:17.111" v="5728" actId="1076"/>
          <ac:graphicFrameMkLst>
            <pc:docMk/>
            <pc:sldMk cId="2968896154" sldId="6693"/>
            <ac:graphicFrameMk id="6" creationId="{B5707458-0AC8-7B35-A0C6-9118407D4256}"/>
          </ac:graphicFrameMkLst>
        </pc:graphicFrameChg>
        <pc:graphicFrameChg chg="add mod">
          <ac:chgData name="Stoel, Anne" userId="950c4e0f-aded-4da6-93ea-ff431cabaa6f" providerId="ADAL" clId="{55274849-0565-4274-8658-387536A0B1C0}" dt="2025-10-07T11:50:38.968" v="5722" actId="1076"/>
          <ac:graphicFrameMkLst>
            <pc:docMk/>
            <pc:sldMk cId="2968896154" sldId="6693"/>
            <ac:graphicFrameMk id="9" creationId="{A48EF788-4992-1361-338A-D170179598D3}"/>
          </ac:graphicFrameMkLst>
        </pc:graphicFrameChg>
        <pc:graphicFrameChg chg="add mod">
          <ac:chgData name="Stoel, Anne" userId="950c4e0f-aded-4da6-93ea-ff431cabaa6f" providerId="ADAL" clId="{55274849-0565-4274-8658-387536A0B1C0}" dt="2025-10-07T11:50:44.555" v="5723"/>
          <ac:graphicFrameMkLst>
            <pc:docMk/>
            <pc:sldMk cId="2968896154" sldId="6693"/>
            <ac:graphicFrameMk id="10" creationId="{F71E6047-5277-1263-D014-042A0A405C6B}"/>
          </ac:graphicFrameMkLst>
        </pc:graphicFrameChg>
      </pc:sldChg>
      <pc:sldChg chg="addSp delSp modSp add mod modNotesTx">
        <pc:chgData name="Stoel, Anne" userId="950c4e0f-aded-4da6-93ea-ff431cabaa6f" providerId="ADAL" clId="{55274849-0565-4274-8658-387536A0B1C0}" dt="2025-10-07T14:34:00.546" v="6616" actId="1038"/>
        <pc:sldMkLst>
          <pc:docMk/>
          <pc:sldMk cId="2155151056" sldId="6694"/>
        </pc:sldMkLst>
        <pc:spChg chg="add del mod">
          <ac:chgData name="Stoel, Anne" userId="950c4e0f-aded-4da6-93ea-ff431cabaa6f" providerId="ADAL" clId="{55274849-0565-4274-8658-387536A0B1C0}" dt="2025-10-07T12:59:34.975" v="6400" actId="478"/>
          <ac:spMkLst>
            <pc:docMk/>
            <pc:sldMk cId="2155151056" sldId="6694"/>
            <ac:spMk id="2" creationId="{81446CE2-500C-5278-3D98-543D95002383}"/>
          </ac:spMkLst>
        </pc:spChg>
        <pc:spChg chg="mod">
          <ac:chgData name="Stoel, Anne" userId="950c4e0f-aded-4da6-93ea-ff431cabaa6f" providerId="ADAL" clId="{55274849-0565-4274-8658-387536A0B1C0}" dt="2025-09-25T07:54:23.438" v="697" actId="20577"/>
          <ac:spMkLst>
            <pc:docMk/>
            <pc:sldMk cId="2155151056" sldId="6694"/>
            <ac:spMk id="3" creationId="{CC2E5270-73AD-91F9-3EA8-89B73DB54C80}"/>
          </ac:spMkLst>
        </pc:spChg>
        <pc:spChg chg="del mod">
          <ac:chgData name="Stoel, Anne" userId="950c4e0f-aded-4da6-93ea-ff431cabaa6f" providerId="ADAL" clId="{55274849-0565-4274-8658-387536A0B1C0}" dt="2025-10-07T12:57:36.733" v="6339" actId="478"/>
          <ac:spMkLst>
            <pc:docMk/>
            <pc:sldMk cId="2155151056" sldId="6694"/>
            <ac:spMk id="4" creationId="{92B132F0-7079-F374-1656-8E3A041F96B5}"/>
          </ac:spMkLst>
        </pc:spChg>
        <pc:spChg chg="del mod">
          <ac:chgData name="Stoel, Anne" userId="950c4e0f-aded-4da6-93ea-ff431cabaa6f" providerId="ADAL" clId="{55274849-0565-4274-8658-387536A0B1C0}" dt="2025-10-07T12:59:36.769" v="6401" actId="478"/>
          <ac:spMkLst>
            <pc:docMk/>
            <pc:sldMk cId="2155151056" sldId="6694"/>
            <ac:spMk id="5" creationId="{577EDC3A-85BE-6568-E4BE-ED21B6FECD05}"/>
          </ac:spMkLst>
        </pc:spChg>
        <pc:spChg chg="add mod">
          <ac:chgData name="Stoel, Anne" userId="950c4e0f-aded-4da6-93ea-ff431cabaa6f" providerId="ADAL" clId="{55274849-0565-4274-8658-387536A0B1C0}" dt="2025-10-07T14:32:31.948" v="6470" actId="1076"/>
          <ac:spMkLst>
            <pc:docMk/>
            <pc:sldMk cId="2155151056" sldId="6694"/>
            <ac:spMk id="7" creationId="{035F8204-D216-5AA9-7E55-125E9323386B}"/>
          </ac:spMkLst>
        </pc:spChg>
        <pc:spChg chg="add mod">
          <ac:chgData name="Stoel, Anne" userId="950c4e0f-aded-4da6-93ea-ff431cabaa6f" providerId="ADAL" clId="{55274849-0565-4274-8658-387536A0B1C0}" dt="2025-10-07T14:33:53.699" v="6610" actId="14100"/>
          <ac:spMkLst>
            <pc:docMk/>
            <pc:sldMk cId="2155151056" sldId="6694"/>
            <ac:spMk id="8" creationId="{ACC51088-267E-D668-9EED-3D5F6E5BFE18}"/>
          </ac:spMkLst>
        </pc:spChg>
        <pc:picChg chg="add mod">
          <ac:chgData name="Stoel, Anne" userId="950c4e0f-aded-4da6-93ea-ff431cabaa6f" providerId="ADAL" clId="{55274849-0565-4274-8658-387536A0B1C0}" dt="2025-10-07T12:56:52.921" v="6311"/>
          <ac:picMkLst>
            <pc:docMk/>
            <pc:sldMk cId="2155151056" sldId="6694"/>
            <ac:picMk id="6" creationId="{6B6EAAD9-5261-DDB0-68F2-71EBB9B79BB1}"/>
          </ac:picMkLst>
        </pc:picChg>
        <pc:picChg chg="add mod">
          <ac:chgData name="Stoel, Anne" userId="950c4e0f-aded-4da6-93ea-ff431cabaa6f" providerId="ADAL" clId="{55274849-0565-4274-8658-387536A0B1C0}" dt="2025-10-07T14:34:00.546" v="6616" actId="1038"/>
          <ac:picMkLst>
            <pc:docMk/>
            <pc:sldMk cId="2155151056" sldId="6694"/>
            <ac:picMk id="1026" creationId="{706C6A32-6601-BD8A-3FF5-6C7D67554124}"/>
          </ac:picMkLst>
        </pc:picChg>
      </pc:sldChg>
      <pc:sldChg chg="addSp delSp modSp add mod ord">
        <pc:chgData name="Stoel, Anne" userId="950c4e0f-aded-4da6-93ea-ff431cabaa6f" providerId="ADAL" clId="{55274849-0565-4274-8658-387536A0B1C0}" dt="2025-10-06T21:39:07.229" v="5707" actId="404"/>
        <pc:sldMkLst>
          <pc:docMk/>
          <pc:sldMk cId="1429221718" sldId="6695"/>
        </pc:sldMkLst>
        <pc:spChg chg="add mod ord">
          <ac:chgData name="Stoel, Anne" userId="950c4e0f-aded-4da6-93ea-ff431cabaa6f" providerId="ADAL" clId="{55274849-0565-4274-8658-387536A0B1C0}" dt="2025-10-06T21:38:59.641" v="5700" actId="14100"/>
          <ac:spMkLst>
            <pc:docMk/>
            <pc:sldMk cId="1429221718" sldId="6695"/>
            <ac:spMk id="7" creationId="{B5A08AAA-7395-B9AE-6609-2659A4A55F0B}"/>
          </ac:spMkLst>
        </pc:spChg>
        <pc:spChg chg="add mod">
          <ac:chgData name="Stoel, Anne" userId="950c4e0f-aded-4da6-93ea-ff431cabaa6f" providerId="ADAL" clId="{55274849-0565-4274-8658-387536A0B1C0}" dt="2025-10-06T21:39:07.229" v="5707" actId="404"/>
          <ac:spMkLst>
            <pc:docMk/>
            <pc:sldMk cId="1429221718" sldId="6695"/>
            <ac:spMk id="8" creationId="{FA48A6E9-EEC3-90D4-DC9A-ECF5FDC90015}"/>
          </ac:spMkLst>
        </pc:spChg>
        <pc:picChg chg="add mod">
          <ac:chgData name="Stoel, Anne" userId="950c4e0f-aded-4da6-93ea-ff431cabaa6f" providerId="ADAL" clId="{55274849-0565-4274-8658-387536A0B1C0}" dt="2025-10-06T21:37:05.234" v="5636" actId="1036"/>
          <ac:picMkLst>
            <pc:docMk/>
            <pc:sldMk cId="1429221718" sldId="6695"/>
            <ac:picMk id="1026" creationId="{02C29FF4-4443-0809-7A87-0524245FA256}"/>
          </ac:picMkLst>
        </pc:picChg>
        <pc:picChg chg="add mod">
          <ac:chgData name="Stoel, Anne" userId="950c4e0f-aded-4da6-93ea-ff431cabaa6f" providerId="ADAL" clId="{55274849-0565-4274-8658-387536A0B1C0}" dt="2025-10-06T21:37:05.234" v="5636" actId="1036"/>
          <ac:picMkLst>
            <pc:docMk/>
            <pc:sldMk cId="1429221718" sldId="6695"/>
            <ac:picMk id="1028" creationId="{0AE6F9F6-EF74-4397-673B-CC2C9F9DBA4A}"/>
          </ac:picMkLst>
        </pc:picChg>
        <pc:picChg chg="add mod">
          <ac:chgData name="Stoel, Anne" userId="950c4e0f-aded-4da6-93ea-ff431cabaa6f" providerId="ADAL" clId="{55274849-0565-4274-8658-387536A0B1C0}" dt="2025-10-06T21:37:05.234" v="5636" actId="1036"/>
          <ac:picMkLst>
            <pc:docMk/>
            <pc:sldMk cId="1429221718" sldId="6695"/>
            <ac:picMk id="1030" creationId="{92CDD573-B620-9B36-8639-133E8FD2D870}"/>
          </ac:picMkLst>
        </pc:picChg>
        <pc:picChg chg="add mod">
          <ac:chgData name="Stoel, Anne" userId="950c4e0f-aded-4da6-93ea-ff431cabaa6f" providerId="ADAL" clId="{55274849-0565-4274-8658-387536A0B1C0}" dt="2025-10-06T21:37:05.234" v="5636" actId="1036"/>
          <ac:picMkLst>
            <pc:docMk/>
            <pc:sldMk cId="1429221718" sldId="6695"/>
            <ac:picMk id="1032" creationId="{1C883A9A-6934-1BBD-7AEE-6CC332FC095F}"/>
          </ac:picMkLst>
        </pc:picChg>
      </pc:sldChg>
      <pc:sldChg chg="addSp modSp new del">
        <pc:chgData name="Stoel, Anne" userId="950c4e0f-aded-4da6-93ea-ff431cabaa6f" providerId="ADAL" clId="{55274849-0565-4274-8658-387536A0B1C0}" dt="2025-09-25T08:35:58.801" v="2279" actId="2696"/>
        <pc:sldMkLst>
          <pc:docMk/>
          <pc:sldMk cId="3051994474" sldId="6696"/>
        </pc:sldMkLst>
      </pc:sldChg>
      <pc:sldChg chg="addSp delSp modSp add del mod ord">
        <pc:chgData name="Stoel, Anne" userId="950c4e0f-aded-4da6-93ea-ff431cabaa6f" providerId="ADAL" clId="{55274849-0565-4274-8658-387536A0B1C0}" dt="2025-10-06T20:37:27.991" v="4442" actId="2696"/>
        <pc:sldMkLst>
          <pc:docMk/>
          <pc:sldMk cId="2827920825" sldId="6697"/>
        </pc:sldMkLst>
      </pc:sldChg>
      <pc:sldChg chg="addSp modSp add del mod ord">
        <pc:chgData name="Stoel, Anne" userId="950c4e0f-aded-4da6-93ea-ff431cabaa6f" providerId="ADAL" clId="{55274849-0565-4274-8658-387536A0B1C0}" dt="2025-10-06T20:40:22.169" v="4486" actId="2696"/>
        <pc:sldMkLst>
          <pc:docMk/>
          <pc:sldMk cId="1218485986" sldId="6698"/>
        </pc:sldMkLst>
      </pc:sldChg>
      <pc:sldChg chg="add del">
        <pc:chgData name="Stoel, Anne" userId="950c4e0f-aded-4da6-93ea-ff431cabaa6f" providerId="ADAL" clId="{55274849-0565-4274-8658-387536A0B1C0}" dt="2025-09-25T08:30:56.115" v="1798" actId="2696"/>
        <pc:sldMkLst>
          <pc:docMk/>
          <pc:sldMk cId="332553095" sldId="6699"/>
        </pc:sldMkLst>
      </pc:sldChg>
      <pc:sldChg chg="addSp delSp modSp add mod">
        <pc:chgData name="Stoel, Anne" userId="950c4e0f-aded-4da6-93ea-ff431cabaa6f" providerId="ADAL" clId="{55274849-0565-4274-8658-387536A0B1C0}" dt="2025-10-06T21:08:27.416" v="4866" actId="14100"/>
        <pc:sldMkLst>
          <pc:docMk/>
          <pc:sldMk cId="1808231784" sldId="6700"/>
        </pc:sldMkLst>
        <pc:spChg chg="del mod">
          <ac:chgData name="Stoel, Anne" userId="950c4e0f-aded-4da6-93ea-ff431cabaa6f" providerId="ADAL" clId="{55274849-0565-4274-8658-387536A0B1C0}" dt="2025-10-06T21:04:31.074" v="4740" actId="478"/>
          <ac:spMkLst>
            <pc:docMk/>
            <pc:sldMk cId="1808231784" sldId="6700"/>
            <ac:spMk id="3" creationId="{CC06B4A3-5720-6917-96AB-DE6A8E14E5BD}"/>
          </ac:spMkLst>
        </pc:spChg>
        <pc:spChg chg="mod ord">
          <ac:chgData name="Stoel, Anne" userId="950c4e0f-aded-4da6-93ea-ff431cabaa6f" providerId="ADAL" clId="{55274849-0565-4274-8658-387536A0B1C0}" dt="2025-10-06T21:08:27.416" v="4866" actId="14100"/>
          <ac:spMkLst>
            <pc:docMk/>
            <pc:sldMk cId="1808231784" sldId="6700"/>
            <ac:spMk id="4" creationId="{3DAABAAD-0E45-3722-0FD3-19A1C1AB23F6}"/>
          </ac:spMkLst>
        </pc:spChg>
        <pc:spChg chg="add">
          <ac:chgData name="Stoel, Anne" userId="950c4e0f-aded-4da6-93ea-ff431cabaa6f" providerId="ADAL" clId="{55274849-0565-4274-8658-387536A0B1C0}" dt="2025-10-06T21:04:26.135" v="4738"/>
          <ac:spMkLst>
            <pc:docMk/>
            <pc:sldMk cId="1808231784" sldId="6700"/>
            <ac:spMk id="6" creationId="{509BDC03-3439-83E2-1E88-62A26B22984B}"/>
          </ac:spMkLst>
        </pc:spChg>
        <pc:spChg chg="add del">
          <ac:chgData name="Stoel, Anne" userId="950c4e0f-aded-4da6-93ea-ff431cabaa6f" providerId="ADAL" clId="{55274849-0565-4274-8658-387536A0B1C0}" dt="2025-10-06T21:04:31.074" v="4740" actId="478"/>
          <ac:spMkLst>
            <pc:docMk/>
            <pc:sldMk cId="1808231784" sldId="6700"/>
            <ac:spMk id="7" creationId="{B1BB209D-131A-1248-42E5-7958F789BD29}"/>
          </ac:spMkLst>
        </pc:spChg>
        <pc:spChg chg="add mod">
          <ac:chgData name="Stoel, Anne" userId="950c4e0f-aded-4da6-93ea-ff431cabaa6f" providerId="ADAL" clId="{55274849-0565-4274-8658-387536A0B1C0}" dt="2025-10-06T21:05:31.601" v="4791" actId="20577"/>
          <ac:spMkLst>
            <pc:docMk/>
            <pc:sldMk cId="1808231784" sldId="6700"/>
            <ac:spMk id="8" creationId="{4EE5CDEF-EF40-C8A7-52B5-CB5D18A60DFB}"/>
          </ac:spMkLst>
        </pc:spChg>
        <pc:spChg chg="add">
          <ac:chgData name="Stoel, Anne" userId="950c4e0f-aded-4da6-93ea-ff431cabaa6f" providerId="ADAL" clId="{55274849-0565-4274-8658-387536A0B1C0}" dt="2025-10-06T21:04:38.469" v="4741"/>
          <ac:spMkLst>
            <pc:docMk/>
            <pc:sldMk cId="1808231784" sldId="6700"/>
            <ac:spMk id="9" creationId="{B215240E-3D0D-72DB-A133-36620AF81792}"/>
          </ac:spMkLst>
        </pc:spChg>
        <pc:spChg chg="add mod">
          <ac:chgData name="Stoel, Anne" userId="950c4e0f-aded-4da6-93ea-ff431cabaa6f" providerId="ADAL" clId="{55274849-0565-4274-8658-387536A0B1C0}" dt="2025-10-06T21:04:53.677" v="4743"/>
          <ac:spMkLst>
            <pc:docMk/>
            <pc:sldMk cId="1808231784" sldId="6700"/>
            <ac:spMk id="10" creationId="{86CB8B1E-F084-8BF5-8408-A3250CBF1B6C}"/>
          </ac:spMkLst>
        </pc:spChg>
        <pc:spChg chg="add mod">
          <ac:chgData name="Stoel, Anne" userId="950c4e0f-aded-4da6-93ea-ff431cabaa6f" providerId="ADAL" clId="{55274849-0565-4274-8658-387536A0B1C0}" dt="2025-10-06T21:07:56.067" v="4828" actId="1076"/>
          <ac:spMkLst>
            <pc:docMk/>
            <pc:sldMk cId="1808231784" sldId="6700"/>
            <ac:spMk id="13" creationId="{55C1C74E-7E85-4655-0456-E81F42C7F309}"/>
          </ac:spMkLst>
        </pc:spChg>
        <pc:picChg chg="add mod">
          <ac:chgData name="Stoel, Anne" userId="950c4e0f-aded-4da6-93ea-ff431cabaa6f" providerId="ADAL" clId="{55274849-0565-4274-8658-387536A0B1C0}" dt="2025-10-06T21:07:09.042" v="4822" actId="14100"/>
          <ac:picMkLst>
            <pc:docMk/>
            <pc:sldMk cId="1808231784" sldId="6700"/>
            <ac:picMk id="12" creationId="{94D50E09-0BD5-0B4B-85F4-61F351B55307}"/>
          </ac:picMkLst>
        </pc:picChg>
      </pc:sldChg>
      <pc:sldChg chg="delSp modSp add del mod">
        <pc:chgData name="Stoel, Anne" userId="950c4e0f-aded-4da6-93ea-ff431cabaa6f" providerId="ADAL" clId="{55274849-0565-4274-8658-387536A0B1C0}" dt="2025-10-06T20:41:20.694" v="4487" actId="2696"/>
        <pc:sldMkLst>
          <pc:docMk/>
          <pc:sldMk cId="1982869850" sldId="6701"/>
        </pc:sldMkLst>
      </pc:sldChg>
      <pc:sldChg chg="addSp delSp modSp add mod">
        <pc:chgData name="Stoel, Anne" userId="950c4e0f-aded-4da6-93ea-ff431cabaa6f" providerId="ADAL" clId="{55274849-0565-4274-8658-387536A0B1C0}" dt="2025-10-06T21:00:37.009" v="4737" actId="20577"/>
        <pc:sldMkLst>
          <pc:docMk/>
          <pc:sldMk cId="532279073" sldId="6702"/>
        </pc:sldMkLst>
        <pc:spChg chg="del mod">
          <ac:chgData name="Stoel, Anne" userId="950c4e0f-aded-4da6-93ea-ff431cabaa6f" providerId="ADAL" clId="{55274849-0565-4274-8658-387536A0B1C0}" dt="2025-10-06T20:49:47.145" v="4667" actId="478"/>
          <ac:spMkLst>
            <pc:docMk/>
            <pc:sldMk cId="532279073" sldId="6702"/>
            <ac:spMk id="2" creationId="{9DC334E8-A68B-D973-CEC4-6E935C241948}"/>
          </ac:spMkLst>
        </pc:spChg>
        <pc:spChg chg="mod">
          <ac:chgData name="Stoel, Anne" userId="950c4e0f-aded-4da6-93ea-ff431cabaa6f" providerId="ADAL" clId="{55274849-0565-4274-8658-387536A0B1C0}" dt="2025-10-06T20:44:36.257" v="4525" actId="20577"/>
          <ac:spMkLst>
            <pc:docMk/>
            <pc:sldMk cId="532279073" sldId="6702"/>
            <ac:spMk id="3" creationId="{6518F1C0-4BBE-374A-0388-E49B2642372D}"/>
          </ac:spMkLst>
        </pc:spChg>
        <pc:spChg chg="mod">
          <ac:chgData name="Stoel, Anne" userId="950c4e0f-aded-4da6-93ea-ff431cabaa6f" providerId="ADAL" clId="{55274849-0565-4274-8658-387536A0B1C0}" dt="2025-10-06T21:00:12.354" v="4699" actId="20577"/>
          <ac:spMkLst>
            <pc:docMk/>
            <pc:sldMk cId="532279073" sldId="6702"/>
            <ac:spMk id="4" creationId="{F99856EB-4E34-B094-8461-6F20BF22FE69}"/>
          </ac:spMkLst>
        </pc:spChg>
        <pc:spChg chg="del mod">
          <ac:chgData name="Stoel, Anne" userId="950c4e0f-aded-4da6-93ea-ff431cabaa6f" providerId="ADAL" clId="{55274849-0565-4274-8658-387536A0B1C0}" dt="2025-10-06T20:49:18.681" v="4625" actId="478"/>
          <ac:spMkLst>
            <pc:docMk/>
            <pc:sldMk cId="532279073" sldId="6702"/>
            <ac:spMk id="5" creationId="{716A8D62-E96F-CD00-9DE1-85110A741D17}"/>
          </ac:spMkLst>
        </pc:spChg>
        <pc:spChg chg="add mod ord">
          <ac:chgData name="Stoel, Anne" userId="950c4e0f-aded-4da6-93ea-ff431cabaa6f" providerId="ADAL" clId="{55274849-0565-4274-8658-387536A0B1C0}" dt="2025-10-06T21:00:15.394" v="4702" actId="20577"/>
          <ac:spMkLst>
            <pc:docMk/>
            <pc:sldMk cId="532279073" sldId="6702"/>
            <ac:spMk id="6" creationId="{24A9C7DC-7CDA-011A-2CA9-D8FEEE56EDB6}"/>
          </ac:spMkLst>
        </pc:spChg>
        <pc:spChg chg="add mod">
          <ac:chgData name="Stoel, Anne" userId="950c4e0f-aded-4da6-93ea-ff431cabaa6f" providerId="ADAL" clId="{55274849-0565-4274-8658-387536A0B1C0}" dt="2025-10-06T21:00:37.009" v="4737" actId="20577"/>
          <ac:spMkLst>
            <pc:docMk/>
            <pc:sldMk cId="532279073" sldId="6702"/>
            <ac:spMk id="7" creationId="{8B0DAC52-BD49-4F76-548D-86C01D90FD25}"/>
          </ac:spMkLst>
        </pc:spChg>
        <pc:picChg chg="add mod">
          <ac:chgData name="Stoel, Anne" userId="950c4e0f-aded-4da6-93ea-ff431cabaa6f" providerId="ADAL" clId="{55274849-0565-4274-8658-387536A0B1C0}" dt="2025-10-06T20:48:10.786" v="4585" actId="14100"/>
          <ac:picMkLst>
            <pc:docMk/>
            <pc:sldMk cId="532279073" sldId="6702"/>
            <ac:picMk id="10242" creationId="{8839FA8B-934D-1A47-36B7-E8A7F20B41D7}"/>
          </ac:picMkLst>
        </pc:picChg>
        <pc:picChg chg="add mod">
          <ac:chgData name="Stoel, Anne" userId="950c4e0f-aded-4da6-93ea-ff431cabaa6f" providerId="ADAL" clId="{55274849-0565-4274-8658-387536A0B1C0}" dt="2025-10-06T20:54:02.488" v="4688" actId="1076"/>
          <ac:picMkLst>
            <pc:docMk/>
            <pc:sldMk cId="532279073" sldId="6702"/>
            <ac:picMk id="10244" creationId="{460F665C-3E83-4E6F-2C42-B8D38C06D62F}"/>
          </ac:picMkLst>
        </pc:picChg>
        <pc:picChg chg="add mod">
          <ac:chgData name="Stoel, Anne" userId="950c4e0f-aded-4da6-93ea-ff431cabaa6f" providerId="ADAL" clId="{55274849-0565-4274-8658-387536A0B1C0}" dt="2025-10-06T20:58:44.800" v="4695" actId="732"/>
          <ac:picMkLst>
            <pc:docMk/>
            <pc:sldMk cId="532279073" sldId="6702"/>
            <ac:picMk id="10246" creationId="{F4C7250D-8EC6-F730-731A-13D2281EBC00}"/>
          </ac:picMkLst>
        </pc:picChg>
      </pc:sldChg>
      <pc:sldChg chg="addSp delSp modSp add mod ord">
        <pc:chgData name="Stoel, Anne" userId="950c4e0f-aded-4da6-93ea-ff431cabaa6f" providerId="ADAL" clId="{55274849-0565-4274-8658-387536A0B1C0}" dt="2025-10-06T19:41:10.631" v="3110" actId="1037"/>
        <pc:sldMkLst>
          <pc:docMk/>
          <pc:sldMk cId="2611497470" sldId="6703"/>
        </pc:sldMkLst>
        <pc:spChg chg="mod">
          <ac:chgData name="Stoel, Anne" userId="950c4e0f-aded-4da6-93ea-ff431cabaa6f" providerId="ADAL" clId="{55274849-0565-4274-8658-387536A0B1C0}" dt="2025-10-06T19:40:47.950" v="3080" actId="14100"/>
          <ac:spMkLst>
            <pc:docMk/>
            <pc:sldMk cId="2611497470" sldId="6703"/>
            <ac:spMk id="2" creationId="{F163D631-AA33-E3BF-F51E-31566804FBEE}"/>
          </ac:spMkLst>
        </pc:spChg>
        <pc:spChg chg="del">
          <ac:chgData name="Stoel, Anne" userId="950c4e0f-aded-4da6-93ea-ff431cabaa6f" providerId="ADAL" clId="{55274849-0565-4274-8658-387536A0B1C0}" dt="2025-10-06T19:39:57.857" v="3064" actId="478"/>
          <ac:spMkLst>
            <pc:docMk/>
            <pc:sldMk cId="2611497470" sldId="6703"/>
            <ac:spMk id="3" creationId="{1C23F21F-57E8-2701-7E92-69206CFB72C9}"/>
          </ac:spMkLst>
        </pc:spChg>
        <pc:spChg chg="del">
          <ac:chgData name="Stoel, Anne" userId="950c4e0f-aded-4da6-93ea-ff431cabaa6f" providerId="ADAL" clId="{55274849-0565-4274-8658-387536A0B1C0}" dt="2025-10-06T19:37:13.918" v="2983" actId="478"/>
          <ac:spMkLst>
            <pc:docMk/>
            <pc:sldMk cId="2611497470" sldId="6703"/>
            <ac:spMk id="5" creationId="{563A2CBD-5AD3-757E-BAE4-EAD9FD114C6C}"/>
          </ac:spMkLst>
        </pc:spChg>
        <pc:spChg chg="add del mod">
          <ac:chgData name="Stoel, Anne" userId="950c4e0f-aded-4da6-93ea-ff431cabaa6f" providerId="ADAL" clId="{55274849-0565-4274-8658-387536A0B1C0}" dt="2025-10-06T19:40:00.741" v="3065" actId="478"/>
          <ac:spMkLst>
            <pc:docMk/>
            <pc:sldMk cId="2611497470" sldId="6703"/>
            <ac:spMk id="19" creationId="{7C1CA386-D8A3-CEC4-BE65-658D1D42A63C}"/>
          </ac:spMkLst>
        </pc:spChg>
        <pc:grpChg chg="mod">
          <ac:chgData name="Stoel, Anne" userId="950c4e0f-aded-4da6-93ea-ff431cabaa6f" providerId="ADAL" clId="{55274849-0565-4274-8658-387536A0B1C0}" dt="2025-10-06T19:40:11.101" v="3069" actId="1076"/>
          <ac:grpSpMkLst>
            <pc:docMk/>
            <pc:sldMk cId="2611497470" sldId="6703"/>
            <ac:grpSpMk id="6" creationId="{AAB1ADD8-546B-E33C-B03D-2A7C378B400C}"/>
          </ac:grpSpMkLst>
        </pc:grpChg>
        <pc:grpChg chg="mod">
          <ac:chgData name="Stoel, Anne" userId="950c4e0f-aded-4da6-93ea-ff431cabaa6f" providerId="ADAL" clId="{55274849-0565-4274-8658-387536A0B1C0}" dt="2025-10-06T19:40:37.178" v="3077" actId="1076"/>
          <ac:grpSpMkLst>
            <pc:docMk/>
            <pc:sldMk cId="2611497470" sldId="6703"/>
            <ac:grpSpMk id="9" creationId="{9C3EA0F7-456C-F146-6059-4F06BE941FF4}"/>
          </ac:grpSpMkLst>
        </pc:grpChg>
        <pc:grpChg chg="mod">
          <ac:chgData name="Stoel, Anne" userId="950c4e0f-aded-4da6-93ea-ff431cabaa6f" providerId="ADAL" clId="{55274849-0565-4274-8658-387536A0B1C0}" dt="2025-10-06T19:41:10.631" v="3110" actId="1037"/>
          <ac:grpSpMkLst>
            <pc:docMk/>
            <pc:sldMk cId="2611497470" sldId="6703"/>
            <ac:grpSpMk id="12" creationId="{3844C024-FD38-5941-F0A1-B030F3959852}"/>
          </ac:grpSpMkLst>
        </pc:grpChg>
        <pc:picChg chg="mod">
          <ac:chgData name="Stoel, Anne" userId="950c4e0f-aded-4da6-93ea-ff431cabaa6f" providerId="ADAL" clId="{55274849-0565-4274-8658-387536A0B1C0}" dt="2025-10-06T19:39:53.933" v="3063" actId="1036"/>
          <ac:picMkLst>
            <pc:docMk/>
            <pc:sldMk cId="2611497470" sldId="6703"/>
            <ac:picMk id="15" creationId="{52763A50-126E-E746-87CD-4C093A7CBC79}"/>
          </ac:picMkLst>
        </pc:picChg>
        <pc:picChg chg="mod">
          <ac:chgData name="Stoel, Anne" userId="950c4e0f-aded-4da6-93ea-ff431cabaa6f" providerId="ADAL" clId="{55274849-0565-4274-8658-387536A0B1C0}" dt="2025-10-06T19:40:32.781" v="3075" actId="1076"/>
          <ac:picMkLst>
            <pc:docMk/>
            <pc:sldMk cId="2611497470" sldId="6703"/>
            <ac:picMk id="16" creationId="{1D11AA12-6773-5FA6-D8FC-5620F7DCD88C}"/>
          </ac:picMkLst>
        </pc:picChg>
        <pc:picChg chg="mod">
          <ac:chgData name="Stoel, Anne" userId="950c4e0f-aded-4da6-93ea-ff431cabaa6f" providerId="ADAL" clId="{55274849-0565-4274-8658-387536A0B1C0}" dt="2025-10-06T19:39:53.933" v="3063" actId="1036"/>
          <ac:picMkLst>
            <pc:docMk/>
            <pc:sldMk cId="2611497470" sldId="6703"/>
            <ac:picMk id="17" creationId="{5258BC69-1D7F-900C-1F78-1FF0F775B049}"/>
          </ac:picMkLst>
        </pc:picChg>
        <pc:picChg chg="mod">
          <ac:chgData name="Stoel, Anne" userId="950c4e0f-aded-4da6-93ea-ff431cabaa6f" providerId="ADAL" clId="{55274849-0565-4274-8658-387536A0B1C0}" dt="2025-10-06T19:40:52.850" v="3091" actId="1038"/>
          <ac:picMkLst>
            <pc:docMk/>
            <pc:sldMk cId="2611497470" sldId="6703"/>
            <ac:picMk id="18" creationId="{8DC578B6-EA29-9D76-9025-D11A1DC14F98}"/>
          </ac:picMkLst>
        </pc:picChg>
      </pc:sldChg>
      <pc:sldChg chg="addSp delSp modSp new mod">
        <pc:chgData name="Stoel, Anne" userId="950c4e0f-aded-4da6-93ea-ff431cabaa6f" providerId="ADAL" clId="{55274849-0565-4274-8658-387536A0B1C0}" dt="2025-10-06T20:04:06.478" v="3156" actId="732"/>
        <pc:sldMkLst>
          <pc:docMk/>
          <pc:sldMk cId="949762191" sldId="6704"/>
        </pc:sldMkLst>
        <pc:spChg chg="mod">
          <ac:chgData name="Stoel, Anne" userId="950c4e0f-aded-4da6-93ea-ff431cabaa6f" providerId="ADAL" clId="{55274849-0565-4274-8658-387536A0B1C0}" dt="2025-10-06T19:41:44.438" v="3128" actId="20577"/>
          <ac:spMkLst>
            <pc:docMk/>
            <pc:sldMk cId="949762191" sldId="6704"/>
            <ac:spMk id="4" creationId="{9BEA4CCA-D556-EA9F-3586-868B6967FAB6}"/>
          </ac:spMkLst>
        </pc:spChg>
        <pc:spChg chg="add del">
          <ac:chgData name="Stoel, Anne" userId="950c4e0f-aded-4da6-93ea-ff431cabaa6f" providerId="ADAL" clId="{55274849-0565-4274-8658-387536A0B1C0}" dt="2025-10-06T20:03:01.679" v="3150" actId="22"/>
          <ac:spMkLst>
            <pc:docMk/>
            <pc:sldMk cId="949762191" sldId="6704"/>
            <ac:spMk id="6" creationId="{82FC121A-E883-E3F4-3D0D-F9A603602A04}"/>
          </ac:spMkLst>
        </pc:spChg>
        <pc:picChg chg="add del mod">
          <ac:chgData name="Stoel, Anne" userId="950c4e0f-aded-4da6-93ea-ff431cabaa6f" providerId="ADAL" clId="{55274849-0565-4274-8658-387536A0B1C0}" dt="2025-10-06T19:54:29.573" v="3133" actId="478"/>
          <ac:picMkLst>
            <pc:docMk/>
            <pc:sldMk cId="949762191" sldId="6704"/>
            <ac:picMk id="2050" creationId="{6466F4F5-37CE-1D05-6C21-2B943EE1660E}"/>
          </ac:picMkLst>
        </pc:picChg>
        <pc:picChg chg="add mod">
          <ac:chgData name="Stoel, Anne" userId="950c4e0f-aded-4da6-93ea-ff431cabaa6f" providerId="ADAL" clId="{55274849-0565-4274-8658-387536A0B1C0}" dt="2025-10-06T20:00:50.386" v="3145" actId="14100"/>
          <ac:picMkLst>
            <pc:docMk/>
            <pc:sldMk cId="949762191" sldId="6704"/>
            <ac:picMk id="2052" creationId="{46901AC7-1459-6500-573B-5F908B2E6010}"/>
          </ac:picMkLst>
        </pc:picChg>
        <pc:picChg chg="add del mod">
          <ac:chgData name="Stoel, Anne" userId="950c4e0f-aded-4da6-93ea-ff431cabaa6f" providerId="ADAL" clId="{55274849-0565-4274-8658-387536A0B1C0}" dt="2025-10-06T20:02:58.326" v="3148" actId="478"/>
          <ac:picMkLst>
            <pc:docMk/>
            <pc:sldMk cId="949762191" sldId="6704"/>
            <ac:picMk id="2054" creationId="{FC3F3355-F409-368F-17DB-1313B8175395}"/>
          </ac:picMkLst>
        </pc:picChg>
        <pc:picChg chg="add mod">
          <ac:chgData name="Stoel, Anne" userId="950c4e0f-aded-4da6-93ea-ff431cabaa6f" providerId="ADAL" clId="{55274849-0565-4274-8658-387536A0B1C0}" dt="2025-10-06T20:04:06.478" v="3156" actId="732"/>
          <ac:picMkLst>
            <pc:docMk/>
            <pc:sldMk cId="949762191" sldId="6704"/>
            <ac:picMk id="2056" creationId="{C5F66A5E-4CA9-E564-25A7-F81427FA1FA9}"/>
          </ac:picMkLst>
        </pc:picChg>
      </pc:sldChg>
      <pc:sldChg chg="addSp delSp modSp add mod modTransition modClrScheme chgLayout">
        <pc:chgData name="Stoel, Anne" userId="950c4e0f-aded-4da6-93ea-ff431cabaa6f" providerId="ADAL" clId="{55274849-0565-4274-8658-387536A0B1C0}" dt="2025-10-06T20:31:51.147" v="4036" actId="1076"/>
        <pc:sldMkLst>
          <pc:docMk/>
          <pc:sldMk cId="4081809945" sldId="6705"/>
        </pc:sldMkLst>
        <pc:spChg chg="mod ord">
          <ac:chgData name="Stoel, Anne" userId="950c4e0f-aded-4da6-93ea-ff431cabaa6f" providerId="ADAL" clId="{55274849-0565-4274-8658-387536A0B1C0}" dt="2025-10-06T20:06:55.250" v="3168" actId="26606"/>
          <ac:spMkLst>
            <pc:docMk/>
            <pc:sldMk cId="4081809945" sldId="6705"/>
            <ac:spMk id="2" creationId="{8C0BD396-58AC-BC7C-319E-1DDC0EAE8BD6}"/>
          </ac:spMkLst>
        </pc:spChg>
        <pc:spChg chg="mod ord modVis">
          <ac:chgData name="Stoel, Anne" userId="950c4e0f-aded-4da6-93ea-ff431cabaa6f" providerId="ADAL" clId="{55274849-0565-4274-8658-387536A0B1C0}" dt="2025-10-06T20:06:55.250" v="3168" actId="26606"/>
          <ac:spMkLst>
            <pc:docMk/>
            <pc:sldMk cId="4081809945" sldId="6705"/>
            <ac:spMk id="3" creationId="{C04691D3-CC8F-A558-C32B-00C42F20A47F}"/>
          </ac:spMkLst>
        </pc:spChg>
        <pc:spChg chg="mod ord">
          <ac:chgData name="Stoel, Anne" userId="950c4e0f-aded-4da6-93ea-ff431cabaa6f" providerId="ADAL" clId="{55274849-0565-4274-8658-387536A0B1C0}" dt="2025-10-06T20:06:55.250" v="3168" actId="26606"/>
          <ac:spMkLst>
            <pc:docMk/>
            <pc:sldMk cId="4081809945" sldId="6705"/>
            <ac:spMk id="4" creationId="{CCD6CF69-02AF-C6D9-DB04-6BC5256D3DF3}"/>
          </ac:spMkLst>
        </pc:spChg>
        <pc:spChg chg="add mod">
          <ac:chgData name="Stoel, Anne" userId="950c4e0f-aded-4da6-93ea-ff431cabaa6f" providerId="ADAL" clId="{55274849-0565-4274-8658-387536A0B1C0}" dt="2025-10-06T20:11:02.840" v="3515" actId="767"/>
          <ac:spMkLst>
            <pc:docMk/>
            <pc:sldMk cId="4081809945" sldId="6705"/>
            <ac:spMk id="5" creationId="{2AB59B19-B4E2-CF9B-D8F4-3D8DD332B16C}"/>
          </ac:spMkLst>
        </pc:spChg>
        <pc:spChg chg="add mod">
          <ac:chgData name="Stoel, Anne" userId="950c4e0f-aded-4da6-93ea-ff431cabaa6f" providerId="ADAL" clId="{55274849-0565-4274-8658-387536A0B1C0}" dt="2025-10-06T20:31:51.147" v="4036" actId="1076"/>
          <ac:spMkLst>
            <pc:docMk/>
            <pc:sldMk cId="4081809945" sldId="6705"/>
            <ac:spMk id="6" creationId="{93753BC0-3C2C-1AFA-00A3-4365FA14825A}"/>
          </ac:spMkLst>
        </pc:spChg>
        <pc:spChg chg="add del mod">
          <ac:chgData name="Stoel, Anne" userId="950c4e0f-aded-4da6-93ea-ff431cabaa6f" providerId="ADAL" clId="{55274849-0565-4274-8658-387536A0B1C0}" dt="2025-10-06T20:06:37.015" v="3164" actId="26606"/>
          <ac:spMkLst>
            <pc:docMk/>
            <pc:sldMk cId="4081809945" sldId="6705"/>
            <ac:spMk id="2059" creationId="{7E463D17-0940-49F4-A5C9-6AB339B6FE6E}"/>
          </ac:spMkLst>
        </pc:spChg>
        <pc:picChg chg="del">
          <ac:chgData name="Stoel, Anne" userId="950c4e0f-aded-4da6-93ea-ff431cabaa6f" providerId="ADAL" clId="{55274849-0565-4274-8658-387536A0B1C0}" dt="2025-10-06T20:04:21.140" v="3157" actId="478"/>
          <ac:picMkLst>
            <pc:docMk/>
            <pc:sldMk cId="4081809945" sldId="6705"/>
            <ac:picMk id="2052" creationId="{E54078E4-7AE9-6D42-4EF7-2FB8324D7D25}"/>
          </ac:picMkLst>
        </pc:picChg>
        <pc:picChg chg="mod ord">
          <ac:chgData name="Stoel, Anne" userId="950c4e0f-aded-4da6-93ea-ff431cabaa6f" providerId="ADAL" clId="{55274849-0565-4274-8658-387536A0B1C0}" dt="2025-10-06T20:07:01.981" v="3170" actId="14100"/>
          <ac:picMkLst>
            <pc:docMk/>
            <pc:sldMk cId="4081809945" sldId="6705"/>
            <ac:picMk id="2054" creationId="{C0F0D7E8-A661-14B5-3F85-EDD546854C14}"/>
          </ac:picMkLst>
        </pc:picChg>
      </pc:sldChg>
      <pc:sldChg chg="addSp delSp modSp new del mod modClrScheme chgLayout">
        <pc:chgData name="Stoel, Anne" userId="950c4e0f-aded-4da6-93ea-ff431cabaa6f" providerId="ADAL" clId="{55274849-0565-4274-8658-387536A0B1C0}" dt="2025-10-06T20:28:00.321" v="4006" actId="2696"/>
        <pc:sldMkLst>
          <pc:docMk/>
          <pc:sldMk cId="1341916818" sldId="6706"/>
        </pc:sldMkLst>
        <pc:spChg chg="mod ord">
          <ac:chgData name="Stoel, Anne" userId="950c4e0f-aded-4da6-93ea-ff431cabaa6f" providerId="ADAL" clId="{55274849-0565-4274-8658-387536A0B1C0}" dt="2025-10-06T20:07:32.332" v="3171" actId="700"/>
          <ac:spMkLst>
            <pc:docMk/>
            <pc:sldMk cId="1341916818" sldId="6706"/>
            <ac:spMk id="2" creationId="{7CEE2122-6107-7A79-8351-B18B7ACB9251}"/>
          </ac:spMkLst>
        </pc:spChg>
        <pc:spChg chg="mod ord">
          <ac:chgData name="Stoel, Anne" userId="950c4e0f-aded-4da6-93ea-ff431cabaa6f" providerId="ADAL" clId="{55274849-0565-4274-8658-387536A0B1C0}" dt="2025-10-06T20:07:32.332" v="3171" actId="700"/>
          <ac:spMkLst>
            <pc:docMk/>
            <pc:sldMk cId="1341916818" sldId="6706"/>
            <ac:spMk id="3" creationId="{C2993196-36F5-B1C4-FC08-3AF008FC405D}"/>
          </ac:spMkLst>
        </pc:spChg>
        <pc:spChg chg="del mod ord">
          <ac:chgData name="Stoel, Anne" userId="950c4e0f-aded-4da6-93ea-ff431cabaa6f" providerId="ADAL" clId="{55274849-0565-4274-8658-387536A0B1C0}" dt="2025-10-06T20:07:32.332" v="3171" actId="700"/>
          <ac:spMkLst>
            <pc:docMk/>
            <pc:sldMk cId="1341916818" sldId="6706"/>
            <ac:spMk id="4" creationId="{D3D97E92-EC0D-3325-12E8-3F77D396E012}"/>
          </ac:spMkLst>
        </pc:spChg>
        <pc:spChg chg="add mod ord">
          <ac:chgData name="Stoel, Anne" userId="950c4e0f-aded-4da6-93ea-ff431cabaa6f" providerId="ADAL" clId="{55274849-0565-4274-8658-387536A0B1C0}" dt="2025-10-06T20:08:43.985" v="3278" actId="20577"/>
          <ac:spMkLst>
            <pc:docMk/>
            <pc:sldMk cId="1341916818" sldId="6706"/>
            <ac:spMk id="5" creationId="{C2645989-7D29-89B4-58B8-835A2F0A535A}"/>
          </ac:spMkLst>
        </pc:spChg>
        <pc:spChg chg="add mod ord">
          <ac:chgData name="Stoel, Anne" userId="950c4e0f-aded-4da6-93ea-ff431cabaa6f" providerId="ADAL" clId="{55274849-0565-4274-8658-387536A0B1C0}" dt="2025-10-06T20:13:01.997" v="3716" actId="20577"/>
          <ac:spMkLst>
            <pc:docMk/>
            <pc:sldMk cId="1341916818" sldId="6706"/>
            <ac:spMk id="6" creationId="{300B00CF-2592-4061-F537-50244D8053EB}"/>
          </ac:spMkLst>
        </pc:spChg>
        <pc:spChg chg="add mod ord">
          <ac:chgData name="Stoel, Anne" userId="950c4e0f-aded-4da6-93ea-ff431cabaa6f" providerId="ADAL" clId="{55274849-0565-4274-8658-387536A0B1C0}" dt="2025-10-06T20:07:32.332" v="3171" actId="700"/>
          <ac:spMkLst>
            <pc:docMk/>
            <pc:sldMk cId="1341916818" sldId="6706"/>
            <ac:spMk id="7" creationId="{9DF41321-B2E0-4965-DA9C-DC722770D70C}"/>
          </ac:spMkLst>
        </pc:spChg>
        <pc:spChg chg="add del">
          <ac:chgData name="Stoel, Anne" userId="950c4e0f-aded-4da6-93ea-ff431cabaa6f" providerId="ADAL" clId="{55274849-0565-4274-8658-387536A0B1C0}" dt="2025-10-06T20:15:18.290" v="3718" actId="22"/>
          <ac:spMkLst>
            <pc:docMk/>
            <pc:sldMk cId="1341916818" sldId="6706"/>
            <ac:spMk id="9" creationId="{CCD1A445-B9C7-A0D3-441A-7224DB72E6AF}"/>
          </ac:spMkLst>
        </pc:spChg>
        <pc:spChg chg="add del">
          <ac:chgData name="Stoel, Anne" userId="950c4e0f-aded-4da6-93ea-ff431cabaa6f" providerId="ADAL" clId="{55274849-0565-4274-8658-387536A0B1C0}" dt="2025-10-06T20:15:32.756" v="3720" actId="22"/>
          <ac:spMkLst>
            <pc:docMk/>
            <pc:sldMk cId="1341916818" sldId="6706"/>
            <ac:spMk id="11" creationId="{24D1C8F0-8940-B1C6-5A02-CD280F216C91}"/>
          </ac:spMkLst>
        </pc:spChg>
        <pc:picChg chg="add mod">
          <ac:chgData name="Stoel, Anne" userId="950c4e0f-aded-4da6-93ea-ff431cabaa6f" providerId="ADAL" clId="{55274849-0565-4274-8658-387536A0B1C0}" dt="2025-10-06T20:21:12.394" v="3739" actId="14100"/>
          <ac:picMkLst>
            <pc:docMk/>
            <pc:sldMk cId="1341916818" sldId="6706"/>
            <ac:picMk id="4098" creationId="{3F6A1B5C-9023-C1AB-29B2-D298E17778E8}"/>
          </ac:picMkLst>
        </pc:picChg>
        <pc:picChg chg="add mod">
          <ac:chgData name="Stoel, Anne" userId="950c4e0f-aded-4da6-93ea-ff431cabaa6f" providerId="ADAL" clId="{55274849-0565-4274-8658-387536A0B1C0}" dt="2025-10-06T20:21:07.557" v="3738" actId="14100"/>
          <ac:picMkLst>
            <pc:docMk/>
            <pc:sldMk cId="1341916818" sldId="6706"/>
            <ac:picMk id="4100" creationId="{23A80BB9-DAFD-2C12-3F57-DB6CA55CD087}"/>
          </ac:picMkLst>
        </pc:picChg>
        <pc:picChg chg="add mod">
          <ac:chgData name="Stoel, Anne" userId="950c4e0f-aded-4da6-93ea-ff431cabaa6f" providerId="ADAL" clId="{55274849-0565-4274-8658-387536A0B1C0}" dt="2025-10-06T20:20:49.486" v="3735" actId="1076"/>
          <ac:picMkLst>
            <pc:docMk/>
            <pc:sldMk cId="1341916818" sldId="6706"/>
            <ac:picMk id="4102" creationId="{7D0110FC-C05F-354D-99D6-D3A2C179AF3A}"/>
          </ac:picMkLst>
        </pc:picChg>
      </pc:sldChg>
      <pc:sldChg chg="addSp delSp modSp new mod modClrScheme chgLayout">
        <pc:chgData name="Stoel, Anne" userId="950c4e0f-aded-4da6-93ea-ff431cabaa6f" providerId="ADAL" clId="{55274849-0565-4274-8658-387536A0B1C0}" dt="2025-10-06T20:24:51.916" v="3797" actId="20577"/>
        <pc:sldMkLst>
          <pc:docMk/>
          <pc:sldMk cId="2005377389" sldId="6707"/>
        </pc:sldMkLst>
        <pc:spChg chg="mod ord">
          <ac:chgData name="Stoel, Anne" userId="950c4e0f-aded-4da6-93ea-ff431cabaa6f" providerId="ADAL" clId="{55274849-0565-4274-8658-387536A0B1C0}" dt="2025-10-06T20:21:45.252" v="3741" actId="700"/>
          <ac:spMkLst>
            <pc:docMk/>
            <pc:sldMk cId="2005377389" sldId="6707"/>
            <ac:spMk id="2" creationId="{D3C7F116-61A4-2D2D-D77B-853B598C613B}"/>
          </ac:spMkLst>
        </pc:spChg>
        <pc:spChg chg="mod ord">
          <ac:chgData name="Stoel, Anne" userId="950c4e0f-aded-4da6-93ea-ff431cabaa6f" providerId="ADAL" clId="{55274849-0565-4274-8658-387536A0B1C0}" dt="2025-10-06T20:21:45.252" v="3741" actId="700"/>
          <ac:spMkLst>
            <pc:docMk/>
            <pc:sldMk cId="2005377389" sldId="6707"/>
            <ac:spMk id="3" creationId="{1A6AFF01-EF91-8CAA-8009-BB9D3916369B}"/>
          </ac:spMkLst>
        </pc:spChg>
        <pc:spChg chg="del">
          <ac:chgData name="Stoel, Anne" userId="950c4e0f-aded-4da6-93ea-ff431cabaa6f" providerId="ADAL" clId="{55274849-0565-4274-8658-387536A0B1C0}" dt="2025-10-06T20:21:45.252" v="3741" actId="700"/>
          <ac:spMkLst>
            <pc:docMk/>
            <pc:sldMk cId="2005377389" sldId="6707"/>
            <ac:spMk id="4" creationId="{CB436328-0B94-27CA-FDA8-C5B63629F65C}"/>
          </ac:spMkLst>
        </pc:spChg>
        <pc:spChg chg="del">
          <ac:chgData name="Stoel, Anne" userId="950c4e0f-aded-4da6-93ea-ff431cabaa6f" providerId="ADAL" clId="{55274849-0565-4274-8658-387536A0B1C0}" dt="2025-10-06T20:21:45.252" v="3741" actId="700"/>
          <ac:spMkLst>
            <pc:docMk/>
            <pc:sldMk cId="2005377389" sldId="6707"/>
            <ac:spMk id="5" creationId="{A68CFD97-9FF8-4D71-26E0-6F69265E7703}"/>
          </ac:spMkLst>
        </pc:spChg>
        <pc:spChg chg="del mod ord">
          <ac:chgData name="Stoel, Anne" userId="950c4e0f-aded-4da6-93ea-ff431cabaa6f" providerId="ADAL" clId="{55274849-0565-4274-8658-387536A0B1C0}" dt="2025-10-06T20:21:45.252" v="3741" actId="700"/>
          <ac:spMkLst>
            <pc:docMk/>
            <pc:sldMk cId="2005377389" sldId="6707"/>
            <ac:spMk id="6" creationId="{9748D6EB-E5D5-5C44-3439-D0EB79AD7BF4}"/>
          </ac:spMkLst>
        </pc:spChg>
        <pc:spChg chg="add mod ord">
          <ac:chgData name="Stoel, Anne" userId="950c4e0f-aded-4da6-93ea-ff431cabaa6f" providerId="ADAL" clId="{55274849-0565-4274-8658-387536A0B1C0}" dt="2025-10-06T20:23:43.818" v="3785" actId="20577"/>
          <ac:spMkLst>
            <pc:docMk/>
            <pc:sldMk cId="2005377389" sldId="6707"/>
            <ac:spMk id="7" creationId="{AB9588BE-2951-B1D4-9F80-01CADED9A6CD}"/>
          </ac:spMkLst>
        </pc:spChg>
        <pc:spChg chg="add mod">
          <ac:chgData name="Stoel, Anne" userId="950c4e0f-aded-4da6-93ea-ff431cabaa6f" providerId="ADAL" clId="{55274849-0565-4274-8658-387536A0B1C0}" dt="2025-10-06T20:24:51.916" v="3797" actId="20577"/>
          <ac:spMkLst>
            <pc:docMk/>
            <pc:sldMk cId="2005377389" sldId="6707"/>
            <ac:spMk id="11" creationId="{D9223F14-CED3-4CBE-E88A-7B7113995EDD}"/>
          </ac:spMkLst>
        </pc:spChg>
        <pc:picChg chg="add mod">
          <ac:chgData name="Stoel, Anne" userId="950c4e0f-aded-4da6-93ea-ff431cabaa6f" providerId="ADAL" clId="{55274849-0565-4274-8658-387536A0B1C0}" dt="2025-10-06T20:23:30.482" v="3769" actId="14100"/>
          <ac:picMkLst>
            <pc:docMk/>
            <pc:sldMk cId="2005377389" sldId="6707"/>
            <ac:picMk id="8" creationId="{3C099F6B-41B8-EE11-E7AE-7B317F45E6C3}"/>
          </ac:picMkLst>
        </pc:picChg>
        <pc:picChg chg="add mod">
          <ac:chgData name="Stoel, Anne" userId="950c4e0f-aded-4da6-93ea-ff431cabaa6f" providerId="ADAL" clId="{55274849-0565-4274-8658-387536A0B1C0}" dt="2025-10-06T20:23:10.063" v="3765" actId="167"/>
          <ac:picMkLst>
            <pc:docMk/>
            <pc:sldMk cId="2005377389" sldId="6707"/>
            <ac:picMk id="9" creationId="{343C483C-994C-3C37-874F-EFF532697F4C}"/>
          </ac:picMkLst>
        </pc:picChg>
        <pc:picChg chg="add mod">
          <ac:chgData name="Stoel, Anne" userId="950c4e0f-aded-4da6-93ea-ff431cabaa6f" providerId="ADAL" clId="{55274849-0565-4274-8658-387536A0B1C0}" dt="2025-10-06T20:23:25.796" v="3768" actId="14100"/>
          <ac:picMkLst>
            <pc:docMk/>
            <pc:sldMk cId="2005377389" sldId="6707"/>
            <ac:picMk id="10" creationId="{E6371235-F8BF-854E-4123-830B27546C4E}"/>
          </ac:picMkLst>
        </pc:picChg>
      </pc:sldChg>
      <pc:sldChg chg="modSp add mod">
        <pc:chgData name="Stoel, Anne" userId="950c4e0f-aded-4da6-93ea-ff431cabaa6f" providerId="ADAL" clId="{55274849-0565-4274-8658-387536A0B1C0}" dt="2025-10-06T20:30:11.658" v="4026" actId="313"/>
        <pc:sldMkLst>
          <pc:docMk/>
          <pc:sldMk cId="370315332" sldId="6708"/>
        </pc:sldMkLst>
        <pc:spChg chg="mod">
          <ac:chgData name="Stoel, Anne" userId="950c4e0f-aded-4da6-93ea-ff431cabaa6f" providerId="ADAL" clId="{55274849-0565-4274-8658-387536A0B1C0}" dt="2025-10-06T20:30:11.658" v="4026" actId="313"/>
          <ac:spMkLst>
            <pc:docMk/>
            <pc:sldMk cId="370315332" sldId="6708"/>
            <ac:spMk id="11" creationId="{BACF4B1F-2223-D2B7-D293-7CDC569E5F6F}"/>
          </ac:spMkLst>
        </pc:spChg>
      </pc:sldChg>
      <pc:sldChg chg="addSp delSp modSp add mod">
        <pc:chgData name="Stoel, Anne" userId="950c4e0f-aded-4da6-93ea-ff431cabaa6f" providerId="ADAL" clId="{55274849-0565-4274-8658-387536A0B1C0}" dt="2025-10-06T20:35:42.347" v="4295" actId="1076"/>
        <pc:sldMkLst>
          <pc:docMk/>
          <pc:sldMk cId="1896727637" sldId="6709"/>
        </pc:sldMkLst>
        <pc:spChg chg="mod">
          <ac:chgData name="Stoel, Anne" userId="950c4e0f-aded-4da6-93ea-ff431cabaa6f" providerId="ADAL" clId="{55274849-0565-4274-8658-387536A0B1C0}" dt="2025-10-06T20:30:32.165" v="4034" actId="1076"/>
          <ac:spMkLst>
            <pc:docMk/>
            <pc:sldMk cId="1896727637" sldId="6709"/>
            <ac:spMk id="7" creationId="{40DE48A5-5001-20BD-0074-F8BB0F3A5444}"/>
          </ac:spMkLst>
        </pc:spChg>
        <pc:spChg chg="mod">
          <ac:chgData name="Stoel, Anne" userId="950c4e0f-aded-4da6-93ea-ff431cabaa6f" providerId="ADAL" clId="{55274849-0565-4274-8658-387536A0B1C0}" dt="2025-10-06T20:33:19.842" v="4288" actId="20577"/>
          <ac:spMkLst>
            <pc:docMk/>
            <pc:sldMk cId="1896727637" sldId="6709"/>
            <ac:spMk id="11" creationId="{E43E282C-45C6-75AD-2149-476E0C440E95}"/>
          </ac:spMkLst>
        </pc:spChg>
        <pc:picChg chg="del">
          <ac:chgData name="Stoel, Anne" userId="950c4e0f-aded-4da6-93ea-ff431cabaa6f" providerId="ADAL" clId="{55274849-0565-4274-8658-387536A0B1C0}" dt="2025-10-06T20:30:35.195" v="4035" actId="478"/>
          <ac:picMkLst>
            <pc:docMk/>
            <pc:sldMk cId="1896727637" sldId="6709"/>
            <ac:picMk id="8" creationId="{C0C4AF29-E76D-27C4-3B1E-5F05A43279DD}"/>
          </ac:picMkLst>
        </pc:picChg>
        <pc:picChg chg="del">
          <ac:chgData name="Stoel, Anne" userId="950c4e0f-aded-4da6-93ea-ff431cabaa6f" providerId="ADAL" clId="{55274849-0565-4274-8658-387536A0B1C0}" dt="2025-10-06T20:30:35.195" v="4035" actId="478"/>
          <ac:picMkLst>
            <pc:docMk/>
            <pc:sldMk cId="1896727637" sldId="6709"/>
            <ac:picMk id="9" creationId="{46DC7BDB-1CE8-15F1-D6B6-D50FE3121636}"/>
          </ac:picMkLst>
        </pc:picChg>
        <pc:picChg chg="del">
          <ac:chgData name="Stoel, Anne" userId="950c4e0f-aded-4da6-93ea-ff431cabaa6f" providerId="ADAL" clId="{55274849-0565-4274-8658-387536A0B1C0}" dt="2025-10-06T20:30:35.195" v="4035" actId="478"/>
          <ac:picMkLst>
            <pc:docMk/>
            <pc:sldMk cId="1896727637" sldId="6709"/>
            <ac:picMk id="10" creationId="{A83622B1-AB1E-3267-776D-AEACF75191BD}"/>
          </ac:picMkLst>
        </pc:picChg>
        <pc:picChg chg="add mod">
          <ac:chgData name="Stoel, Anne" userId="950c4e0f-aded-4da6-93ea-ff431cabaa6f" providerId="ADAL" clId="{55274849-0565-4274-8658-387536A0B1C0}" dt="2025-10-06T20:35:42.347" v="4295" actId="1076"/>
          <ac:picMkLst>
            <pc:docMk/>
            <pc:sldMk cId="1896727637" sldId="6709"/>
            <ac:picMk id="5122" creationId="{448542CE-718E-F61F-6BF1-5666F9155530}"/>
          </ac:picMkLst>
        </pc:picChg>
      </pc:sldChg>
      <pc:sldChg chg="modSp add mod">
        <pc:chgData name="Stoel, Anne" userId="950c4e0f-aded-4da6-93ea-ff431cabaa6f" providerId="ADAL" clId="{55274849-0565-4274-8658-387536A0B1C0}" dt="2025-10-06T20:37:09.674" v="4441" actId="20577"/>
        <pc:sldMkLst>
          <pc:docMk/>
          <pc:sldMk cId="686585188" sldId="6710"/>
        </pc:sldMkLst>
        <pc:spChg chg="mod">
          <ac:chgData name="Stoel, Anne" userId="950c4e0f-aded-4da6-93ea-ff431cabaa6f" providerId="ADAL" clId="{55274849-0565-4274-8658-387536A0B1C0}" dt="2025-10-06T20:37:09.674" v="4441" actId="20577"/>
          <ac:spMkLst>
            <pc:docMk/>
            <pc:sldMk cId="686585188" sldId="6710"/>
            <ac:spMk id="11" creationId="{3EDCAF3E-BDED-7902-35C8-FBAEE2801B71}"/>
          </ac:spMkLst>
        </pc:spChg>
      </pc:sldChg>
      <pc:sldChg chg="addSp modSp new">
        <pc:chgData name="Stoel, Anne" userId="950c4e0f-aded-4da6-93ea-ff431cabaa6f" providerId="ADAL" clId="{55274849-0565-4274-8658-387536A0B1C0}" dt="2025-10-06T20:39:43.547" v="4485" actId="1035"/>
        <pc:sldMkLst>
          <pc:docMk/>
          <pc:sldMk cId="496900487" sldId="6711"/>
        </pc:sldMkLst>
        <pc:picChg chg="add mod">
          <ac:chgData name="Stoel, Anne" userId="950c4e0f-aded-4da6-93ea-ff431cabaa6f" providerId="ADAL" clId="{55274849-0565-4274-8658-387536A0B1C0}" dt="2025-10-06T20:39:43.547" v="4485" actId="1035"/>
          <ac:picMkLst>
            <pc:docMk/>
            <pc:sldMk cId="496900487" sldId="6711"/>
            <ac:picMk id="8194" creationId="{F29480D2-73E9-8AAD-FD77-193440CB5E32}"/>
          </ac:picMkLst>
        </pc:picChg>
      </pc:sldChg>
      <pc:sldChg chg="addSp delSp modSp new mod">
        <pc:chgData name="Stoel, Anne" userId="950c4e0f-aded-4da6-93ea-ff431cabaa6f" providerId="ADAL" clId="{55274849-0565-4274-8658-387536A0B1C0}" dt="2025-10-06T20:52:06.060" v="4682" actId="20577"/>
        <pc:sldMkLst>
          <pc:docMk/>
          <pc:sldMk cId="552905122" sldId="6712"/>
        </pc:sldMkLst>
        <pc:spChg chg="mod">
          <ac:chgData name="Stoel, Anne" userId="950c4e0f-aded-4da6-93ea-ff431cabaa6f" providerId="ADAL" clId="{55274849-0565-4274-8658-387536A0B1C0}" dt="2025-10-06T20:52:06.060" v="4682" actId="20577"/>
          <ac:spMkLst>
            <pc:docMk/>
            <pc:sldMk cId="552905122" sldId="6712"/>
            <ac:spMk id="4" creationId="{C7D99C47-72E3-9FF7-3C72-4E5C8237E858}"/>
          </ac:spMkLst>
        </pc:spChg>
        <pc:spChg chg="add del">
          <ac:chgData name="Stoel, Anne" userId="950c4e0f-aded-4da6-93ea-ff431cabaa6f" providerId="ADAL" clId="{55274849-0565-4274-8658-387536A0B1C0}" dt="2025-10-06T20:51:01.425" v="4670" actId="22"/>
          <ac:spMkLst>
            <pc:docMk/>
            <pc:sldMk cId="552905122" sldId="6712"/>
            <ac:spMk id="6" creationId="{C5270E4B-CA3C-79C1-D2D8-40F96A4C18D7}"/>
          </ac:spMkLst>
        </pc:spChg>
        <pc:picChg chg="add">
          <ac:chgData name="Stoel, Anne" userId="950c4e0f-aded-4da6-93ea-ff431cabaa6f" providerId="ADAL" clId="{55274849-0565-4274-8658-387536A0B1C0}" dt="2025-10-06T20:51:36.420" v="4671"/>
          <ac:picMkLst>
            <pc:docMk/>
            <pc:sldMk cId="552905122" sldId="6712"/>
            <ac:picMk id="11266" creationId="{3634ABD4-519C-2300-2F4E-ED18799639DF}"/>
          </ac:picMkLst>
        </pc:picChg>
      </pc:sldChg>
      <pc:sldChg chg="addSp delSp modSp add mod">
        <pc:chgData name="Stoel, Anne" userId="950c4e0f-aded-4da6-93ea-ff431cabaa6f" providerId="ADAL" clId="{55274849-0565-4274-8658-387536A0B1C0}" dt="2025-10-06T21:26:07.973" v="5250" actId="14100"/>
        <pc:sldMkLst>
          <pc:docMk/>
          <pc:sldMk cId="3421864139" sldId="6713"/>
        </pc:sldMkLst>
        <pc:spChg chg="del">
          <ac:chgData name="Stoel, Anne" userId="950c4e0f-aded-4da6-93ea-ff431cabaa6f" providerId="ADAL" clId="{55274849-0565-4274-8658-387536A0B1C0}" dt="2025-10-06T21:14:25.394" v="4981" actId="478"/>
          <ac:spMkLst>
            <pc:docMk/>
            <pc:sldMk cId="3421864139" sldId="6713"/>
            <ac:spMk id="3" creationId="{681D1EE5-1413-B169-52DC-F29BD824B18D}"/>
          </ac:spMkLst>
        </pc:spChg>
        <pc:spChg chg="del">
          <ac:chgData name="Stoel, Anne" userId="950c4e0f-aded-4da6-93ea-ff431cabaa6f" providerId="ADAL" clId="{55274849-0565-4274-8658-387536A0B1C0}" dt="2025-10-06T21:14:25.394" v="4981" actId="478"/>
          <ac:spMkLst>
            <pc:docMk/>
            <pc:sldMk cId="3421864139" sldId="6713"/>
            <ac:spMk id="7" creationId="{E154C42F-3135-F0C4-378B-BF67CB507C51}"/>
          </ac:spMkLst>
        </pc:spChg>
        <pc:spChg chg="add del mod">
          <ac:chgData name="Stoel, Anne" userId="950c4e0f-aded-4da6-93ea-ff431cabaa6f" providerId="ADAL" clId="{55274849-0565-4274-8658-387536A0B1C0}" dt="2025-10-06T21:14:28.553" v="4982" actId="478"/>
          <ac:spMkLst>
            <pc:docMk/>
            <pc:sldMk cId="3421864139" sldId="6713"/>
            <ac:spMk id="9" creationId="{9BDC1428-7AD7-3619-BEE3-B1271F04C1E2}"/>
          </ac:spMkLst>
        </pc:spChg>
        <pc:spChg chg="add del mod">
          <ac:chgData name="Stoel, Anne" userId="950c4e0f-aded-4da6-93ea-ff431cabaa6f" providerId="ADAL" clId="{55274849-0565-4274-8658-387536A0B1C0}" dt="2025-10-06T21:16:09.316" v="5019" actId="478"/>
          <ac:spMkLst>
            <pc:docMk/>
            <pc:sldMk cId="3421864139" sldId="6713"/>
            <ac:spMk id="10" creationId="{FF0B6041-81A3-F28B-5FE7-B20CEF5CE96F}"/>
          </ac:spMkLst>
        </pc:spChg>
        <pc:spChg chg="add del mod">
          <ac:chgData name="Stoel, Anne" userId="950c4e0f-aded-4da6-93ea-ff431cabaa6f" providerId="ADAL" clId="{55274849-0565-4274-8658-387536A0B1C0}" dt="2025-10-06T21:16:12.299" v="5020" actId="478"/>
          <ac:spMkLst>
            <pc:docMk/>
            <pc:sldMk cId="3421864139" sldId="6713"/>
            <ac:spMk id="11" creationId="{E75AA3C7-D6DC-72E9-4B91-B71B1932970B}"/>
          </ac:spMkLst>
        </pc:spChg>
        <pc:spChg chg="add del mod">
          <ac:chgData name="Stoel, Anne" userId="950c4e0f-aded-4da6-93ea-ff431cabaa6f" providerId="ADAL" clId="{55274849-0565-4274-8658-387536A0B1C0}" dt="2025-10-06T21:16:59.169" v="5028" actId="478"/>
          <ac:spMkLst>
            <pc:docMk/>
            <pc:sldMk cId="3421864139" sldId="6713"/>
            <ac:spMk id="12" creationId="{850DAFB6-28D1-87EB-FCA1-355C6F068FFB}"/>
          </ac:spMkLst>
        </pc:spChg>
        <pc:spChg chg="add del mod">
          <ac:chgData name="Stoel, Anne" userId="950c4e0f-aded-4da6-93ea-ff431cabaa6f" providerId="ADAL" clId="{55274849-0565-4274-8658-387536A0B1C0}" dt="2025-10-06T21:17:17.323" v="5032" actId="478"/>
          <ac:spMkLst>
            <pc:docMk/>
            <pc:sldMk cId="3421864139" sldId="6713"/>
            <ac:spMk id="13" creationId="{75FD0567-3E22-8DD9-9518-2F9DE80917FF}"/>
          </ac:spMkLst>
        </pc:spChg>
        <pc:spChg chg="add mod">
          <ac:chgData name="Stoel, Anne" userId="950c4e0f-aded-4da6-93ea-ff431cabaa6f" providerId="ADAL" clId="{55274849-0565-4274-8658-387536A0B1C0}" dt="2025-10-06T21:26:07.973" v="5250" actId="14100"/>
          <ac:spMkLst>
            <pc:docMk/>
            <pc:sldMk cId="3421864139" sldId="6713"/>
            <ac:spMk id="14" creationId="{87A48857-D673-6B4C-CC52-202B7F096B61}"/>
          </ac:spMkLst>
        </pc:spChg>
        <pc:graphicFrameChg chg="add mod">
          <ac:chgData name="Stoel, Anne" userId="950c4e0f-aded-4da6-93ea-ff431cabaa6f" providerId="ADAL" clId="{55274849-0565-4274-8658-387536A0B1C0}" dt="2025-10-06T21:25:52.464" v="5229" actId="1076"/>
          <ac:graphicFrameMkLst>
            <pc:docMk/>
            <pc:sldMk cId="3421864139" sldId="6713"/>
            <ac:graphicFrameMk id="15" creationId="{CD69F5AB-325A-4CB6-DBA2-70A09BEBBD06}"/>
          </ac:graphicFrameMkLst>
        </pc:graphicFrameChg>
        <pc:picChg chg="add del mod">
          <ac:chgData name="Stoel, Anne" userId="950c4e0f-aded-4da6-93ea-ff431cabaa6f" providerId="ADAL" clId="{55274849-0565-4274-8658-387536A0B1C0}" dt="2025-10-06T21:17:23.151" v="5035" actId="1076"/>
          <ac:picMkLst>
            <pc:docMk/>
            <pc:sldMk cId="3421864139" sldId="6713"/>
            <ac:picMk id="2" creationId="{73CD95EA-9ABF-B955-699A-A41A458B5429}"/>
          </ac:picMkLst>
        </pc:picChg>
        <pc:picChg chg="mod">
          <ac:chgData name="Stoel, Anne" userId="950c4e0f-aded-4da6-93ea-ff431cabaa6f" providerId="ADAL" clId="{55274849-0565-4274-8658-387536A0B1C0}" dt="2025-10-06T21:17:25.012" v="5036" actId="1076"/>
          <ac:picMkLst>
            <pc:docMk/>
            <pc:sldMk cId="3421864139" sldId="6713"/>
            <ac:picMk id="4" creationId="{DE4F0723-A1C1-0743-7487-716977171839}"/>
          </ac:picMkLst>
        </pc:picChg>
        <pc:picChg chg="del">
          <ac:chgData name="Stoel, Anne" userId="950c4e0f-aded-4da6-93ea-ff431cabaa6f" providerId="ADAL" clId="{55274849-0565-4274-8658-387536A0B1C0}" dt="2025-10-06T21:14:25.394" v="4981" actId="478"/>
          <ac:picMkLst>
            <pc:docMk/>
            <pc:sldMk cId="3421864139" sldId="6713"/>
            <ac:picMk id="5" creationId="{99CE68B6-1B43-5210-E4D2-6A3A1450D46E}"/>
          </ac:picMkLst>
        </pc:picChg>
        <pc:picChg chg="del mod">
          <ac:chgData name="Stoel, Anne" userId="950c4e0f-aded-4da6-93ea-ff431cabaa6f" providerId="ADAL" clId="{55274849-0565-4274-8658-387536A0B1C0}" dt="2025-10-06T21:17:19.103" v="5033" actId="478"/>
          <ac:picMkLst>
            <pc:docMk/>
            <pc:sldMk cId="3421864139" sldId="6713"/>
            <ac:picMk id="6" creationId="{BEE49560-AF62-6246-0FE2-657F378D7CB4}"/>
          </ac:picMkLst>
        </pc:picChg>
      </pc:sldChg>
      <pc:sldChg chg="addSp delSp modSp new mod">
        <pc:chgData name="Stoel, Anne" userId="950c4e0f-aded-4da6-93ea-ff431cabaa6f" providerId="ADAL" clId="{55274849-0565-4274-8658-387536A0B1C0}" dt="2025-10-06T21:23:11.479" v="5221" actId="20577"/>
        <pc:sldMkLst>
          <pc:docMk/>
          <pc:sldMk cId="2888523515" sldId="6714"/>
        </pc:sldMkLst>
        <pc:spChg chg="add del">
          <ac:chgData name="Stoel, Anne" userId="950c4e0f-aded-4da6-93ea-ff431cabaa6f" providerId="ADAL" clId="{55274849-0565-4274-8658-387536A0B1C0}" dt="2025-10-06T21:22:04.174" v="5131" actId="478"/>
          <ac:spMkLst>
            <pc:docMk/>
            <pc:sldMk cId="2888523515" sldId="6714"/>
            <ac:spMk id="7" creationId="{3444610C-76D6-D00F-AEAE-D078B3BF264D}"/>
          </ac:spMkLst>
        </pc:spChg>
        <pc:spChg chg="add mod">
          <ac:chgData name="Stoel, Anne" userId="950c4e0f-aded-4da6-93ea-ff431cabaa6f" providerId="ADAL" clId="{55274849-0565-4274-8658-387536A0B1C0}" dt="2025-10-06T21:23:11.479" v="5221" actId="20577"/>
          <ac:spMkLst>
            <pc:docMk/>
            <pc:sldMk cId="2888523515" sldId="6714"/>
            <ac:spMk id="9" creationId="{E7B0A432-F264-4D97-2C80-4FB1E1D5FB1C}"/>
          </ac:spMkLst>
        </pc:spChg>
        <pc:picChg chg="add">
          <ac:chgData name="Stoel, Anne" userId="950c4e0f-aded-4da6-93ea-ff431cabaa6f" providerId="ADAL" clId="{55274849-0565-4274-8658-387536A0B1C0}" dt="2025-10-06T21:21:29.032" v="5129" actId="22"/>
          <ac:picMkLst>
            <pc:docMk/>
            <pc:sldMk cId="2888523515" sldId="6714"/>
            <ac:picMk id="6" creationId="{DC1CEF49-39ED-0835-513C-B3C357EF22CA}"/>
          </ac:picMkLst>
        </pc:picChg>
        <pc:inkChg chg="add">
          <ac:chgData name="Stoel, Anne" userId="950c4e0f-aded-4da6-93ea-ff431cabaa6f" providerId="ADAL" clId="{55274849-0565-4274-8658-387536A0B1C0}" dt="2025-10-06T21:22:24.931" v="5132" actId="9405"/>
          <ac:inkMkLst>
            <pc:docMk/>
            <pc:sldMk cId="2888523515" sldId="6714"/>
            <ac:inkMk id="8" creationId="{02EF5867-6C0C-FE0D-9C62-377CFC902154}"/>
          </ac:inkMkLst>
        </pc:inkChg>
      </pc:sldChg>
      <pc:sldChg chg="delSp modSp add del">
        <pc:chgData name="Stoel, Anne" userId="950c4e0f-aded-4da6-93ea-ff431cabaa6f" providerId="ADAL" clId="{55274849-0565-4274-8658-387536A0B1C0}" dt="2025-10-07T14:34:15.608" v="6617" actId="2696"/>
        <pc:sldMkLst>
          <pc:docMk/>
          <pc:sldMk cId="574289418" sldId="6715"/>
        </pc:sldMkLst>
        <pc:picChg chg="del mod">
          <ac:chgData name="Stoel, Anne" userId="950c4e0f-aded-4da6-93ea-ff431cabaa6f" providerId="ADAL" clId="{55274849-0565-4274-8658-387536A0B1C0}" dt="2025-10-07T12:56:13.897" v="6304" actId="21"/>
          <ac:picMkLst>
            <pc:docMk/>
            <pc:sldMk cId="574289418" sldId="6715"/>
            <ac:picMk id="1026" creationId="{706C6A32-6601-BD8A-3FF5-6C7D67554124}"/>
          </ac:picMkLst>
        </pc:picChg>
        <pc:picChg chg="del">
          <ac:chgData name="Stoel, Anne" userId="950c4e0f-aded-4da6-93ea-ff431cabaa6f" providerId="ADAL" clId="{55274849-0565-4274-8658-387536A0B1C0}" dt="2025-10-06T21:28:41.993" v="5252" actId="478"/>
          <ac:picMkLst>
            <pc:docMk/>
            <pc:sldMk cId="574289418" sldId="6715"/>
            <ac:picMk id="1028" creationId="{DA0307D9-3C26-57FC-5E79-4343573C85CB}"/>
          </ac:picMkLst>
        </pc:picChg>
        <pc:picChg chg="del">
          <ac:chgData name="Stoel, Anne" userId="950c4e0f-aded-4da6-93ea-ff431cabaa6f" providerId="ADAL" clId="{55274849-0565-4274-8658-387536A0B1C0}" dt="2025-10-06T21:28:41.993" v="5252" actId="478"/>
          <ac:picMkLst>
            <pc:docMk/>
            <pc:sldMk cId="574289418" sldId="6715"/>
            <ac:picMk id="1030" creationId="{B536144F-417A-E2CB-D0FE-59220D0100B0}"/>
          </ac:picMkLst>
        </pc:picChg>
        <pc:picChg chg="del">
          <ac:chgData name="Stoel, Anne" userId="950c4e0f-aded-4da6-93ea-ff431cabaa6f" providerId="ADAL" clId="{55274849-0565-4274-8658-387536A0B1C0}" dt="2025-10-06T21:28:41.993" v="5252" actId="478"/>
          <ac:picMkLst>
            <pc:docMk/>
            <pc:sldMk cId="574289418" sldId="6715"/>
            <ac:picMk id="1032" creationId="{5E19E47F-37EA-F2C9-85E4-DB70BE882B9F}"/>
          </ac:picMkLst>
        </pc:picChg>
      </pc:sldChg>
      <pc:sldChg chg="addSp delSp modSp add mod">
        <pc:chgData name="Stoel, Anne" userId="950c4e0f-aded-4da6-93ea-ff431cabaa6f" providerId="ADAL" clId="{55274849-0565-4274-8658-387536A0B1C0}" dt="2025-10-07T14:52:39.511" v="6800" actId="313"/>
        <pc:sldMkLst>
          <pc:docMk/>
          <pc:sldMk cId="72118779" sldId="6716"/>
        </pc:sldMkLst>
        <pc:spChg chg="add del mod">
          <ac:chgData name="Stoel, Anne" userId="950c4e0f-aded-4da6-93ea-ff431cabaa6f" providerId="ADAL" clId="{55274849-0565-4274-8658-387536A0B1C0}" dt="2025-10-07T14:51:49.981" v="6665" actId="478"/>
          <ac:spMkLst>
            <pc:docMk/>
            <pc:sldMk cId="72118779" sldId="6716"/>
            <ac:spMk id="3" creationId="{ABA0A672-9BE0-6D08-A3B7-300DF61BDF05}"/>
          </ac:spMkLst>
        </pc:spChg>
        <pc:spChg chg="add mod">
          <ac:chgData name="Stoel, Anne" userId="950c4e0f-aded-4da6-93ea-ff431cabaa6f" providerId="ADAL" clId="{55274849-0565-4274-8658-387536A0B1C0}" dt="2025-10-07T14:52:39.511" v="6800" actId="313"/>
          <ac:spMkLst>
            <pc:docMk/>
            <pc:sldMk cId="72118779" sldId="6716"/>
            <ac:spMk id="4" creationId="{B9847C1D-9BAE-452E-8768-50A3CCC5A748}"/>
          </ac:spMkLst>
        </pc:spChg>
        <pc:picChg chg="add mod">
          <ac:chgData name="Stoel, Anne" userId="950c4e0f-aded-4da6-93ea-ff431cabaa6f" providerId="ADAL" clId="{55274849-0565-4274-8658-387536A0B1C0}" dt="2025-10-07T14:51:52.249" v="6666" actId="1076"/>
          <ac:picMkLst>
            <pc:docMk/>
            <pc:sldMk cId="72118779" sldId="6716"/>
            <ac:picMk id="2" creationId="{B4031C89-EF28-3215-4C22-4AD78BC0A50B}"/>
          </ac:picMkLst>
        </pc:picChg>
        <pc:picChg chg="del">
          <ac:chgData name="Stoel, Anne" userId="950c4e0f-aded-4da6-93ea-ff431cabaa6f" providerId="ADAL" clId="{55274849-0565-4274-8658-387536A0B1C0}" dt="2025-10-06T21:30:18.183" v="5263" actId="478"/>
          <ac:picMkLst>
            <pc:docMk/>
            <pc:sldMk cId="72118779" sldId="6716"/>
            <ac:picMk id="1026" creationId="{3D887100-E0B4-0AB8-1FAC-0AF769458EC4}"/>
          </ac:picMkLst>
        </pc:picChg>
      </pc:sldChg>
      <pc:sldChg chg="addSp modSp new mod">
        <pc:chgData name="Stoel, Anne" userId="950c4e0f-aded-4da6-93ea-ff431cabaa6f" providerId="ADAL" clId="{55274849-0565-4274-8658-387536A0B1C0}" dt="2025-10-07T15:11:33.271" v="6852" actId="20577"/>
        <pc:sldMkLst>
          <pc:docMk/>
          <pc:sldMk cId="2969762958" sldId="6717"/>
        </pc:sldMkLst>
        <pc:spChg chg="add mod">
          <ac:chgData name="Stoel, Anne" userId="950c4e0f-aded-4da6-93ea-ff431cabaa6f" providerId="ADAL" clId="{55274849-0565-4274-8658-387536A0B1C0}" dt="2025-10-07T15:11:33.271" v="6852" actId="20577"/>
          <ac:spMkLst>
            <pc:docMk/>
            <pc:sldMk cId="2969762958" sldId="6717"/>
            <ac:spMk id="6" creationId="{AA3D755E-3A40-3549-5A0B-FB939705B0F9}"/>
          </ac:spMkLst>
        </pc:spChg>
        <pc:picChg chg="add mod">
          <ac:chgData name="Stoel, Anne" userId="950c4e0f-aded-4da6-93ea-ff431cabaa6f" providerId="ADAL" clId="{55274849-0565-4274-8658-387536A0B1C0}" dt="2025-10-06T21:30:54.406" v="5270" actId="14100"/>
          <ac:picMkLst>
            <pc:docMk/>
            <pc:sldMk cId="2969762958" sldId="6717"/>
            <ac:picMk id="5" creationId="{CDD15040-FA4E-5BFE-9FBA-CD6B75ED7351}"/>
          </ac:picMkLst>
        </pc:picChg>
      </pc:sldChg>
      <pc:sldChg chg="addSp delSp modSp new mod">
        <pc:chgData name="Stoel, Anne" userId="950c4e0f-aded-4da6-93ea-ff431cabaa6f" providerId="ADAL" clId="{55274849-0565-4274-8658-387536A0B1C0}" dt="2025-10-07T15:16:09.246" v="6919" actId="20577"/>
        <pc:sldMkLst>
          <pc:docMk/>
          <pc:sldMk cId="1453934601" sldId="6718"/>
        </pc:sldMkLst>
        <pc:spChg chg="del">
          <ac:chgData name="Stoel, Anne" userId="950c4e0f-aded-4da6-93ea-ff431cabaa6f" providerId="ADAL" clId="{55274849-0565-4274-8658-387536A0B1C0}" dt="2025-10-06T21:31:24.029" v="5275" actId="478"/>
          <ac:spMkLst>
            <pc:docMk/>
            <pc:sldMk cId="1453934601" sldId="6718"/>
            <ac:spMk id="4" creationId="{9FD87F6E-83E5-E5B0-FB28-ECF8CC331DFA}"/>
          </ac:spMkLst>
        </pc:spChg>
        <pc:spChg chg="add mod">
          <ac:chgData name="Stoel, Anne" userId="950c4e0f-aded-4da6-93ea-ff431cabaa6f" providerId="ADAL" clId="{55274849-0565-4274-8658-387536A0B1C0}" dt="2025-10-07T15:16:09.246" v="6919" actId="20577"/>
          <ac:spMkLst>
            <pc:docMk/>
            <pc:sldMk cId="1453934601" sldId="6718"/>
            <ac:spMk id="6" creationId="{2A0FA688-D8F9-9407-29C1-80D7D2E302A2}"/>
          </ac:spMkLst>
        </pc:spChg>
        <pc:picChg chg="add mod">
          <ac:chgData name="Stoel, Anne" userId="950c4e0f-aded-4da6-93ea-ff431cabaa6f" providerId="ADAL" clId="{55274849-0565-4274-8658-387536A0B1C0}" dt="2025-10-06T21:31:44.807" v="5299" actId="14100"/>
          <ac:picMkLst>
            <pc:docMk/>
            <pc:sldMk cId="1453934601" sldId="6718"/>
            <ac:picMk id="5" creationId="{25D6978F-92DC-7EF1-B19C-F2AFED99BE79}"/>
          </ac:picMkLst>
        </pc:picChg>
      </pc:sldChg>
      <pc:sldChg chg="addSp modSp new mod">
        <pc:chgData name="Stoel, Anne" userId="950c4e0f-aded-4da6-93ea-ff431cabaa6f" providerId="ADAL" clId="{55274849-0565-4274-8658-387536A0B1C0}" dt="2025-10-06T21:34:46.745" v="5557" actId="20577"/>
        <pc:sldMkLst>
          <pc:docMk/>
          <pc:sldMk cId="3908309096" sldId="6719"/>
        </pc:sldMkLst>
        <pc:spChg chg="mod">
          <ac:chgData name="Stoel, Anne" userId="950c4e0f-aded-4da6-93ea-ff431cabaa6f" providerId="ADAL" clId="{55274849-0565-4274-8658-387536A0B1C0}" dt="2025-10-06T21:33:47.260" v="5500" actId="20577"/>
          <ac:spMkLst>
            <pc:docMk/>
            <pc:sldMk cId="3908309096" sldId="6719"/>
            <ac:spMk id="4" creationId="{771D9967-6E82-58FD-EA1E-AD5B012AE23C}"/>
          </ac:spMkLst>
        </pc:spChg>
        <pc:spChg chg="add mod">
          <ac:chgData name="Stoel, Anne" userId="950c4e0f-aded-4da6-93ea-ff431cabaa6f" providerId="ADAL" clId="{55274849-0565-4274-8658-387536A0B1C0}" dt="2025-10-06T21:34:46.745" v="5557" actId="20577"/>
          <ac:spMkLst>
            <pc:docMk/>
            <pc:sldMk cId="3908309096" sldId="6719"/>
            <ac:spMk id="5" creationId="{45543DA2-D538-34FA-CCCA-B648F4FB4FE7}"/>
          </ac:spMkLst>
        </pc:spChg>
      </pc:sldChg>
      <pc:sldChg chg="addSp modSp new">
        <pc:chgData name="Stoel, Anne" userId="950c4e0f-aded-4da6-93ea-ff431cabaa6f" providerId="ADAL" clId="{55274849-0565-4274-8658-387536A0B1C0}" dt="2025-10-06T21:41:35.669" v="5715" actId="18131"/>
        <pc:sldMkLst>
          <pc:docMk/>
          <pc:sldMk cId="882476069" sldId="6720"/>
        </pc:sldMkLst>
        <pc:picChg chg="add mod">
          <ac:chgData name="Stoel, Anne" userId="950c4e0f-aded-4da6-93ea-ff431cabaa6f" providerId="ADAL" clId="{55274849-0565-4274-8658-387536A0B1C0}" dt="2025-10-06T21:41:35.669" v="5715" actId="18131"/>
          <ac:picMkLst>
            <pc:docMk/>
            <pc:sldMk cId="882476069" sldId="6720"/>
            <ac:picMk id="13314" creationId="{9857AA24-5F7B-5F46-24A0-D7A85AE967F1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l-NL"/>
              <a:t>19%</a:t>
            </a:r>
          </a:p>
        </c:rich>
      </c:tx>
      <c:layout>
        <c:manualLayout>
          <c:xMode val="edge"/>
          <c:yMode val="edge"/>
          <c:x val="0.3895811989815115"/>
          <c:y val="0.339795580851448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Totaal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Blad1!$A$2</c:f>
              <c:strCache>
                <c:ptCount val="1"/>
                <c:pt idx="0">
                  <c:v>Someren</c:v>
                </c:pt>
              </c:strCache>
            </c:strRef>
          </c:cat>
          <c:val>
            <c:numRef>
              <c:f>Blad1!$B$2</c:f>
              <c:numCache>
                <c:formatCode>General</c:formatCode>
                <c:ptCount val="1"/>
                <c:pt idx="0">
                  <c:v>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BE-4CCA-8C67-F3A7E67824C8}"/>
            </c:ext>
          </c:extLst>
        </c:ser>
        <c:ser>
          <c:idx val="1"/>
          <c:order val="1"/>
          <c:tx>
            <c:strRef>
              <c:f>Blad1!$C$1</c:f>
              <c:strCache>
                <c:ptCount val="1"/>
                <c:pt idx="0">
                  <c:v>Gebruikers</c:v>
                </c:pt>
              </c:strCache>
            </c:strRef>
          </c:tx>
          <c:spPr>
            <a:solidFill>
              <a:schemeClr val="accent2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Blad1!$A$2</c:f>
              <c:strCache>
                <c:ptCount val="1"/>
                <c:pt idx="0">
                  <c:v>Someren</c:v>
                </c:pt>
              </c:strCache>
            </c:strRef>
          </c:cat>
          <c:val>
            <c:numRef>
              <c:f>Blad1!$C$2</c:f>
              <c:numCache>
                <c:formatCode>General</c:formatCode>
                <c:ptCount val="1"/>
                <c:pt idx="0">
                  <c:v>7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BE-4CCA-8C67-F3A7E67824C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70349712"/>
        <c:axId val="1170342032"/>
      </c:barChart>
      <c:catAx>
        <c:axId val="1170349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170342032"/>
        <c:crosses val="autoZero"/>
        <c:auto val="1"/>
        <c:lblAlgn val="ctr"/>
        <c:lblOffset val="100"/>
        <c:noMultiLvlLbl val="0"/>
      </c:catAx>
      <c:valAx>
        <c:axId val="1170342032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170349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l-NL"/>
              <a:t>19%</a:t>
            </a:r>
          </a:p>
        </c:rich>
      </c:tx>
      <c:layout>
        <c:manualLayout>
          <c:xMode val="edge"/>
          <c:yMode val="edge"/>
          <c:x val="0.3895811989815115"/>
          <c:y val="0.339795580851448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Totaal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Blad1!$A$2</c:f>
              <c:strCache>
                <c:ptCount val="1"/>
                <c:pt idx="0">
                  <c:v>Someren</c:v>
                </c:pt>
              </c:strCache>
            </c:strRef>
          </c:cat>
          <c:val>
            <c:numRef>
              <c:f>Blad1!$B$2</c:f>
              <c:numCache>
                <c:formatCode>General</c:formatCode>
                <c:ptCount val="1"/>
                <c:pt idx="0">
                  <c:v>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41-490B-A9AF-C8C54C571873}"/>
            </c:ext>
          </c:extLst>
        </c:ser>
        <c:ser>
          <c:idx val="1"/>
          <c:order val="1"/>
          <c:tx>
            <c:strRef>
              <c:f>Blad1!$C$1</c:f>
              <c:strCache>
                <c:ptCount val="1"/>
                <c:pt idx="0">
                  <c:v>Gebruikers</c:v>
                </c:pt>
              </c:strCache>
            </c:strRef>
          </c:tx>
          <c:spPr>
            <a:solidFill>
              <a:schemeClr val="accent2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Blad1!$A$2</c:f>
              <c:strCache>
                <c:ptCount val="1"/>
                <c:pt idx="0">
                  <c:v>Someren</c:v>
                </c:pt>
              </c:strCache>
            </c:strRef>
          </c:cat>
          <c:val>
            <c:numRef>
              <c:f>Blad1!$C$2</c:f>
              <c:numCache>
                <c:formatCode>General</c:formatCode>
                <c:ptCount val="1"/>
                <c:pt idx="0">
                  <c:v>7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841-490B-A9AF-C8C54C57187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70349712"/>
        <c:axId val="1170342032"/>
      </c:barChart>
      <c:catAx>
        <c:axId val="1170349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170342032"/>
        <c:crosses val="autoZero"/>
        <c:auto val="1"/>
        <c:lblAlgn val="ctr"/>
        <c:lblOffset val="100"/>
        <c:noMultiLvlLbl val="0"/>
      </c:catAx>
      <c:valAx>
        <c:axId val="1170342032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170349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0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00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7539715-B059-4107-AC70-1E51FDF098AA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1C82AA24-3DF0-4C51-984F-8293A5D49580}">
      <dgm:prSet/>
      <dgm:spPr/>
      <dgm:t>
        <a:bodyPr/>
        <a:lstStyle/>
        <a:p>
          <a:r>
            <a:rPr lang="nl-NL"/>
            <a:t>Wat is congestie?</a:t>
          </a:r>
          <a:endParaRPr lang="en-US"/>
        </a:p>
      </dgm:t>
    </dgm:pt>
    <dgm:pt modelId="{B359B7E8-C644-4859-BED4-642DB10A5870}" type="parTrans" cxnId="{B65EF7BC-5217-4AB1-965D-E72F93ABBCD3}">
      <dgm:prSet/>
      <dgm:spPr/>
      <dgm:t>
        <a:bodyPr/>
        <a:lstStyle/>
        <a:p>
          <a:endParaRPr lang="en-US"/>
        </a:p>
      </dgm:t>
    </dgm:pt>
    <dgm:pt modelId="{93DD8A6D-F454-4049-BB2B-1F9CCF83E90A}" type="sibTrans" cxnId="{B65EF7BC-5217-4AB1-965D-E72F93ABBCD3}">
      <dgm:prSet/>
      <dgm:spPr/>
      <dgm:t>
        <a:bodyPr/>
        <a:lstStyle/>
        <a:p>
          <a:endParaRPr lang="en-US"/>
        </a:p>
      </dgm:t>
    </dgm:pt>
    <dgm:pt modelId="{DD504060-224D-4C4E-9ECA-1B0336825ADF}">
      <dgm:prSet/>
      <dgm:spPr/>
      <dgm:t>
        <a:bodyPr/>
        <a:lstStyle/>
        <a:p>
          <a:r>
            <a:rPr lang="nl-NL" dirty="0"/>
            <a:t>De Buurtnet App pilot van afgelopen zomer</a:t>
          </a:r>
          <a:endParaRPr lang="en-US" dirty="0"/>
        </a:p>
      </dgm:t>
    </dgm:pt>
    <dgm:pt modelId="{9EA6759F-B613-46B4-8B43-3BF89D4A99AE}" type="parTrans" cxnId="{1C1BB2A5-0169-4A41-8A2A-75081D6F02A7}">
      <dgm:prSet/>
      <dgm:spPr/>
      <dgm:t>
        <a:bodyPr/>
        <a:lstStyle/>
        <a:p>
          <a:endParaRPr lang="en-US"/>
        </a:p>
      </dgm:t>
    </dgm:pt>
    <dgm:pt modelId="{C45F0AEF-A208-4134-AA52-0810CFBF5FF2}" type="sibTrans" cxnId="{1C1BB2A5-0169-4A41-8A2A-75081D6F02A7}">
      <dgm:prSet/>
      <dgm:spPr/>
      <dgm:t>
        <a:bodyPr/>
        <a:lstStyle/>
        <a:p>
          <a:endParaRPr lang="en-US"/>
        </a:p>
      </dgm:t>
    </dgm:pt>
    <dgm:pt modelId="{86FDDF5B-06A7-4622-8C5D-A72A4BA0F311}">
      <dgm:prSet/>
      <dgm:spPr/>
      <dgm:t>
        <a:bodyPr/>
        <a:lstStyle/>
        <a:p>
          <a:r>
            <a:rPr lang="nl-NL" dirty="0"/>
            <a:t>De Buurtnet App pilot van komende winter</a:t>
          </a:r>
          <a:endParaRPr lang="en-US" dirty="0"/>
        </a:p>
      </dgm:t>
    </dgm:pt>
    <dgm:pt modelId="{1E70AFE3-9F31-414C-B13C-8E370A9DA90C}" type="parTrans" cxnId="{A6EBB0C0-6385-4935-9BDA-42E434E5F3DC}">
      <dgm:prSet/>
      <dgm:spPr/>
      <dgm:t>
        <a:bodyPr/>
        <a:lstStyle/>
        <a:p>
          <a:endParaRPr lang="en-US"/>
        </a:p>
      </dgm:t>
    </dgm:pt>
    <dgm:pt modelId="{8D64B858-21CC-4FDF-A16A-0A76BFD80F80}" type="sibTrans" cxnId="{A6EBB0C0-6385-4935-9BDA-42E434E5F3DC}">
      <dgm:prSet/>
      <dgm:spPr/>
      <dgm:t>
        <a:bodyPr/>
        <a:lstStyle/>
        <a:p>
          <a:endParaRPr lang="en-US"/>
        </a:p>
      </dgm:t>
    </dgm:pt>
    <dgm:pt modelId="{E40FABCC-DE93-46F9-9FEF-B8945F5E8454}" type="pres">
      <dgm:prSet presAssocID="{27539715-B059-4107-AC70-1E51FDF098AA}" presName="root" presStyleCnt="0">
        <dgm:presLayoutVars>
          <dgm:dir/>
          <dgm:resizeHandles val="exact"/>
        </dgm:presLayoutVars>
      </dgm:prSet>
      <dgm:spPr/>
    </dgm:pt>
    <dgm:pt modelId="{AE30E8C1-2345-44E3-9BCB-A662F1C2EE04}" type="pres">
      <dgm:prSet presAssocID="{1C82AA24-3DF0-4C51-984F-8293A5D49580}" presName="compNode" presStyleCnt="0"/>
      <dgm:spPr/>
    </dgm:pt>
    <dgm:pt modelId="{D3170E08-DD5E-4DF8-ACEA-8E4552685D64}" type="pres">
      <dgm:prSet presAssocID="{1C82AA24-3DF0-4C51-984F-8293A5D49580}" presName="bgRect" presStyleLbl="bgShp" presStyleIdx="0" presStyleCnt="3"/>
      <dgm:spPr/>
    </dgm:pt>
    <dgm:pt modelId="{D84A1D3C-5744-4A6B-9B33-618E12F87DEA}" type="pres">
      <dgm:prSet presAssocID="{1C82AA24-3DF0-4C51-984F-8293A5D49580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Irriterend"/>
        </a:ext>
      </dgm:extLst>
    </dgm:pt>
    <dgm:pt modelId="{9E01012A-6DFA-4C7B-A73B-08004FC46499}" type="pres">
      <dgm:prSet presAssocID="{1C82AA24-3DF0-4C51-984F-8293A5D49580}" presName="spaceRect" presStyleCnt="0"/>
      <dgm:spPr/>
    </dgm:pt>
    <dgm:pt modelId="{9DAFDBB1-9E73-451A-B687-3026F7B8A01F}" type="pres">
      <dgm:prSet presAssocID="{1C82AA24-3DF0-4C51-984F-8293A5D49580}" presName="parTx" presStyleLbl="revTx" presStyleIdx="0" presStyleCnt="3">
        <dgm:presLayoutVars>
          <dgm:chMax val="0"/>
          <dgm:chPref val="0"/>
        </dgm:presLayoutVars>
      </dgm:prSet>
      <dgm:spPr/>
    </dgm:pt>
    <dgm:pt modelId="{4BB0D955-8E04-4D1D-B2CD-1923CDFB1D78}" type="pres">
      <dgm:prSet presAssocID="{93DD8A6D-F454-4049-BB2B-1F9CCF83E90A}" presName="sibTrans" presStyleCnt="0"/>
      <dgm:spPr/>
    </dgm:pt>
    <dgm:pt modelId="{1B5CE994-6BDC-4DD6-A6AA-DB681667F7B5}" type="pres">
      <dgm:prSet presAssocID="{DD504060-224D-4C4E-9ECA-1B0336825ADF}" presName="compNode" presStyleCnt="0"/>
      <dgm:spPr/>
    </dgm:pt>
    <dgm:pt modelId="{77810B6D-960F-453D-960A-4A4A3C86439B}" type="pres">
      <dgm:prSet presAssocID="{DD504060-224D-4C4E-9ECA-1B0336825ADF}" presName="bgRect" presStyleLbl="bgShp" presStyleIdx="1" presStyleCnt="3"/>
      <dgm:spPr/>
    </dgm:pt>
    <dgm:pt modelId="{2B5562CB-A341-461A-B6DD-2C538F304963}" type="pres">
      <dgm:prSet presAssocID="{DD504060-224D-4C4E-9ECA-1B0336825ADF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Zon"/>
        </a:ext>
      </dgm:extLst>
    </dgm:pt>
    <dgm:pt modelId="{5F60316F-778C-4117-A8D4-E05E5368AB41}" type="pres">
      <dgm:prSet presAssocID="{DD504060-224D-4C4E-9ECA-1B0336825ADF}" presName="spaceRect" presStyleCnt="0"/>
      <dgm:spPr/>
    </dgm:pt>
    <dgm:pt modelId="{52345DDC-731E-4FF4-AFD3-3FB7FBB102E5}" type="pres">
      <dgm:prSet presAssocID="{DD504060-224D-4C4E-9ECA-1B0336825ADF}" presName="parTx" presStyleLbl="revTx" presStyleIdx="1" presStyleCnt="3">
        <dgm:presLayoutVars>
          <dgm:chMax val="0"/>
          <dgm:chPref val="0"/>
        </dgm:presLayoutVars>
      </dgm:prSet>
      <dgm:spPr/>
    </dgm:pt>
    <dgm:pt modelId="{C8AF821E-4F6E-486E-BB21-B412C6BB772B}" type="pres">
      <dgm:prSet presAssocID="{C45F0AEF-A208-4134-AA52-0810CFBF5FF2}" presName="sibTrans" presStyleCnt="0"/>
      <dgm:spPr/>
    </dgm:pt>
    <dgm:pt modelId="{79656210-27D2-4ED3-984B-9910AE2E2340}" type="pres">
      <dgm:prSet presAssocID="{86FDDF5B-06A7-4622-8C5D-A72A4BA0F311}" presName="compNode" presStyleCnt="0"/>
      <dgm:spPr/>
    </dgm:pt>
    <dgm:pt modelId="{B60F8377-7F43-4BEC-86B9-20E6A6D83CBD}" type="pres">
      <dgm:prSet presAssocID="{86FDDF5B-06A7-4622-8C5D-A72A4BA0F311}" presName="bgRect" presStyleLbl="bgShp" presStyleIdx="2" presStyleCnt="3"/>
      <dgm:spPr/>
    </dgm:pt>
    <dgm:pt modelId="{67172EF0-8130-4F75-B69B-6AB8A77C5EE2}" type="pres">
      <dgm:prSet presAssocID="{86FDDF5B-06A7-4622-8C5D-A72A4BA0F311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neeuwvlokje"/>
        </a:ext>
      </dgm:extLst>
    </dgm:pt>
    <dgm:pt modelId="{945959F7-B579-4739-9257-3C78D4DD3F1D}" type="pres">
      <dgm:prSet presAssocID="{86FDDF5B-06A7-4622-8C5D-A72A4BA0F311}" presName="spaceRect" presStyleCnt="0"/>
      <dgm:spPr/>
    </dgm:pt>
    <dgm:pt modelId="{659D8E5B-D953-4527-8960-015743A90F7F}" type="pres">
      <dgm:prSet presAssocID="{86FDDF5B-06A7-4622-8C5D-A72A4BA0F311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09CF2E11-E75F-48FB-98CB-5C069793CF47}" type="presOf" srcId="{DD504060-224D-4C4E-9ECA-1B0336825ADF}" destId="{52345DDC-731E-4FF4-AFD3-3FB7FBB102E5}" srcOrd="0" destOrd="0" presId="urn:microsoft.com/office/officeart/2018/2/layout/IconVerticalSolidList"/>
    <dgm:cxn modelId="{C3189F8E-6ADF-454A-B7FC-8EF7CC1F0366}" type="presOf" srcId="{27539715-B059-4107-AC70-1E51FDF098AA}" destId="{E40FABCC-DE93-46F9-9FEF-B8945F5E8454}" srcOrd="0" destOrd="0" presId="urn:microsoft.com/office/officeart/2018/2/layout/IconVerticalSolidList"/>
    <dgm:cxn modelId="{E875C699-2C5D-4F9F-B763-A0420E71D16E}" type="presOf" srcId="{1C82AA24-3DF0-4C51-984F-8293A5D49580}" destId="{9DAFDBB1-9E73-451A-B687-3026F7B8A01F}" srcOrd="0" destOrd="0" presId="urn:microsoft.com/office/officeart/2018/2/layout/IconVerticalSolidList"/>
    <dgm:cxn modelId="{1C1BB2A5-0169-4A41-8A2A-75081D6F02A7}" srcId="{27539715-B059-4107-AC70-1E51FDF098AA}" destId="{DD504060-224D-4C4E-9ECA-1B0336825ADF}" srcOrd="1" destOrd="0" parTransId="{9EA6759F-B613-46B4-8B43-3BF89D4A99AE}" sibTransId="{C45F0AEF-A208-4134-AA52-0810CFBF5FF2}"/>
    <dgm:cxn modelId="{B65EF7BC-5217-4AB1-965D-E72F93ABBCD3}" srcId="{27539715-B059-4107-AC70-1E51FDF098AA}" destId="{1C82AA24-3DF0-4C51-984F-8293A5D49580}" srcOrd="0" destOrd="0" parTransId="{B359B7E8-C644-4859-BED4-642DB10A5870}" sibTransId="{93DD8A6D-F454-4049-BB2B-1F9CCF83E90A}"/>
    <dgm:cxn modelId="{0CA2B6BE-0CBF-444F-B3BF-2A49336D48D1}" type="presOf" srcId="{86FDDF5B-06A7-4622-8C5D-A72A4BA0F311}" destId="{659D8E5B-D953-4527-8960-015743A90F7F}" srcOrd="0" destOrd="0" presId="urn:microsoft.com/office/officeart/2018/2/layout/IconVerticalSolidList"/>
    <dgm:cxn modelId="{A6EBB0C0-6385-4935-9BDA-42E434E5F3DC}" srcId="{27539715-B059-4107-AC70-1E51FDF098AA}" destId="{86FDDF5B-06A7-4622-8C5D-A72A4BA0F311}" srcOrd="2" destOrd="0" parTransId="{1E70AFE3-9F31-414C-B13C-8E370A9DA90C}" sibTransId="{8D64B858-21CC-4FDF-A16A-0A76BFD80F80}"/>
    <dgm:cxn modelId="{D2A42118-FF94-446A-972E-1BCFBFE805A7}" type="presParOf" srcId="{E40FABCC-DE93-46F9-9FEF-B8945F5E8454}" destId="{AE30E8C1-2345-44E3-9BCB-A662F1C2EE04}" srcOrd="0" destOrd="0" presId="urn:microsoft.com/office/officeart/2018/2/layout/IconVerticalSolidList"/>
    <dgm:cxn modelId="{9144C034-B4AA-44E0-B89B-715E6FCA1C77}" type="presParOf" srcId="{AE30E8C1-2345-44E3-9BCB-A662F1C2EE04}" destId="{D3170E08-DD5E-4DF8-ACEA-8E4552685D64}" srcOrd="0" destOrd="0" presId="urn:microsoft.com/office/officeart/2018/2/layout/IconVerticalSolidList"/>
    <dgm:cxn modelId="{7CB493E3-1EFE-4E9A-AECB-37AA2D59A791}" type="presParOf" srcId="{AE30E8C1-2345-44E3-9BCB-A662F1C2EE04}" destId="{D84A1D3C-5744-4A6B-9B33-618E12F87DEA}" srcOrd="1" destOrd="0" presId="urn:microsoft.com/office/officeart/2018/2/layout/IconVerticalSolidList"/>
    <dgm:cxn modelId="{4F8F38BB-0285-4BFB-A1F2-4D17201E8109}" type="presParOf" srcId="{AE30E8C1-2345-44E3-9BCB-A662F1C2EE04}" destId="{9E01012A-6DFA-4C7B-A73B-08004FC46499}" srcOrd="2" destOrd="0" presId="urn:microsoft.com/office/officeart/2018/2/layout/IconVerticalSolidList"/>
    <dgm:cxn modelId="{17619BA9-36C4-4A22-BA0D-1151666D718B}" type="presParOf" srcId="{AE30E8C1-2345-44E3-9BCB-A662F1C2EE04}" destId="{9DAFDBB1-9E73-451A-B687-3026F7B8A01F}" srcOrd="3" destOrd="0" presId="urn:microsoft.com/office/officeart/2018/2/layout/IconVerticalSolidList"/>
    <dgm:cxn modelId="{C15D88BA-EDDF-42D1-973C-F6656E5506F9}" type="presParOf" srcId="{E40FABCC-DE93-46F9-9FEF-B8945F5E8454}" destId="{4BB0D955-8E04-4D1D-B2CD-1923CDFB1D78}" srcOrd="1" destOrd="0" presId="urn:microsoft.com/office/officeart/2018/2/layout/IconVerticalSolidList"/>
    <dgm:cxn modelId="{E3927AA8-D734-4514-9864-D92742682BF9}" type="presParOf" srcId="{E40FABCC-DE93-46F9-9FEF-B8945F5E8454}" destId="{1B5CE994-6BDC-4DD6-A6AA-DB681667F7B5}" srcOrd="2" destOrd="0" presId="urn:microsoft.com/office/officeart/2018/2/layout/IconVerticalSolidList"/>
    <dgm:cxn modelId="{DC991BFD-F865-45E9-A445-F737C5054000}" type="presParOf" srcId="{1B5CE994-6BDC-4DD6-A6AA-DB681667F7B5}" destId="{77810B6D-960F-453D-960A-4A4A3C86439B}" srcOrd="0" destOrd="0" presId="urn:microsoft.com/office/officeart/2018/2/layout/IconVerticalSolidList"/>
    <dgm:cxn modelId="{CD3F3AE6-E839-411A-A057-E2EBDB86926D}" type="presParOf" srcId="{1B5CE994-6BDC-4DD6-A6AA-DB681667F7B5}" destId="{2B5562CB-A341-461A-B6DD-2C538F304963}" srcOrd="1" destOrd="0" presId="urn:microsoft.com/office/officeart/2018/2/layout/IconVerticalSolidList"/>
    <dgm:cxn modelId="{1D3ACBE4-6C7B-4D6F-86A8-F31B247F0C94}" type="presParOf" srcId="{1B5CE994-6BDC-4DD6-A6AA-DB681667F7B5}" destId="{5F60316F-778C-4117-A8D4-E05E5368AB41}" srcOrd="2" destOrd="0" presId="urn:microsoft.com/office/officeart/2018/2/layout/IconVerticalSolidList"/>
    <dgm:cxn modelId="{F31E9209-92AD-4C1F-BA79-35AF5788236C}" type="presParOf" srcId="{1B5CE994-6BDC-4DD6-A6AA-DB681667F7B5}" destId="{52345DDC-731E-4FF4-AFD3-3FB7FBB102E5}" srcOrd="3" destOrd="0" presId="urn:microsoft.com/office/officeart/2018/2/layout/IconVerticalSolidList"/>
    <dgm:cxn modelId="{32ECA62D-D464-4A14-95B9-D522E0B57ACC}" type="presParOf" srcId="{E40FABCC-DE93-46F9-9FEF-B8945F5E8454}" destId="{C8AF821E-4F6E-486E-BB21-B412C6BB772B}" srcOrd="3" destOrd="0" presId="urn:microsoft.com/office/officeart/2018/2/layout/IconVerticalSolidList"/>
    <dgm:cxn modelId="{72FF0401-C91A-4747-B908-2B458825C113}" type="presParOf" srcId="{E40FABCC-DE93-46F9-9FEF-B8945F5E8454}" destId="{79656210-27D2-4ED3-984B-9910AE2E2340}" srcOrd="4" destOrd="0" presId="urn:microsoft.com/office/officeart/2018/2/layout/IconVerticalSolidList"/>
    <dgm:cxn modelId="{B70A09BB-D43E-4324-8089-918089B6133D}" type="presParOf" srcId="{79656210-27D2-4ED3-984B-9910AE2E2340}" destId="{B60F8377-7F43-4BEC-86B9-20E6A6D83CBD}" srcOrd="0" destOrd="0" presId="urn:microsoft.com/office/officeart/2018/2/layout/IconVerticalSolidList"/>
    <dgm:cxn modelId="{9EADC8B3-976A-40BB-B43E-55FB6320B9CF}" type="presParOf" srcId="{79656210-27D2-4ED3-984B-9910AE2E2340}" destId="{67172EF0-8130-4F75-B69B-6AB8A77C5EE2}" srcOrd="1" destOrd="0" presId="urn:microsoft.com/office/officeart/2018/2/layout/IconVerticalSolidList"/>
    <dgm:cxn modelId="{07A80D2B-B49C-4DEF-96AD-99D021543A41}" type="presParOf" srcId="{79656210-27D2-4ED3-984B-9910AE2E2340}" destId="{945959F7-B579-4739-9257-3C78D4DD3F1D}" srcOrd="2" destOrd="0" presId="urn:microsoft.com/office/officeart/2018/2/layout/IconVerticalSolidList"/>
    <dgm:cxn modelId="{813FC3DB-9167-4906-BAF4-249E38187276}" type="presParOf" srcId="{79656210-27D2-4ED3-984B-9910AE2E2340}" destId="{659D8E5B-D953-4527-8960-015743A90F7F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170E08-DD5E-4DF8-ACEA-8E4552685D64}">
      <dsp:nvSpPr>
        <dsp:cNvPr id="0" name=""/>
        <dsp:cNvSpPr/>
      </dsp:nvSpPr>
      <dsp:spPr>
        <a:xfrm>
          <a:off x="0" y="531"/>
          <a:ext cx="10515600" cy="124328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4A1D3C-5744-4A6B-9B33-618E12F87DEA}">
      <dsp:nvSpPr>
        <dsp:cNvPr id="0" name=""/>
        <dsp:cNvSpPr/>
      </dsp:nvSpPr>
      <dsp:spPr>
        <a:xfrm>
          <a:off x="376092" y="280269"/>
          <a:ext cx="683804" cy="68380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AFDBB1-9E73-451A-B687-3026F7B8A01F}">
      <dsp:nvSpPr>
        <dsp:cNvPr id="0" name=""/>
        <dsp:cNvSpPr/>
      </dsp:nvSpPr>
      <dsp:spPr>
        <a:xfrm>
          <a:off x="1435988" y="531"/>
          <a:ext cx="9079611" cy="12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581" tIns="131581" rIns="131581" bIns="131581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500" kern="1200"/>
            <a:t>Wat is congestie?</a:t>
          </a:r>
          <a:endParaRPr lang="en-US" sz="2500" kern="1200"/>
        </a:p>
      </dsp:txBody>
      <dsp:txXfrm>
        <a:off x="1435988" y="531"/>
        <a:ext cx="9079611" cy="1243280"/>
      </dsp:txXfrm>
    </dsp:sp>
    <dsp:sp modelId="{77810B6D-960F-453D-960A-4A4A3C86439B}">
      <dsp:nvSpPr>
        <dsp:cNvPr id="0" name=""/>
        <dsp:cNvSpPr/>
      </dsp:nvSpPr>
      <dsp:spPr>
        <a:xfrm>
          <a:off x="0" y="1554631"/>
          <a:ext cx="10515600" cy="124328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5562CB-A341-461A-B6DD-2C538F304963}">
      <dsp:nvSpPr>
        <dsp:cNvPr id="0" name=""/>
        <dsp:cNvSpPr/>
      </dsp:nvSpPr>
      <dsp:spPr>
        <a:xfrm>
          <a:off x="376092" y="1834369"/>
          <a:ext cx="683804" cy="68380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345DDC-731E-4FF4-AFD3-3FB7FBB102E5}">
      <dsp:nvSpPr>
        <dsp:cNvPr id="0" name=""/>
        <dsp:cNvSpPr/>
      </dsp:nvSpPr>
      <dsp:spPr>
        <a:xfrm>
          <a:off x="1435988" y="1554631"/>
          <a:ext cx="9079611" cy="12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581" tIns="131581" rIns="131581" bIns="131581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500" kern="1200" dirty="0"/>
            <a:t>De Buurtnet App pilot van afgelopen zomer</a:t>
          </a:r>
          <a:endParaRPr lang="en-US" sz="2500" kern="1200" dirty="0"/>
        </a:p>
      </dsp:txBody>
      <dsp:txXfrm>
        <a:off x="1435988" y="1554631"/>
        <a:ext cx="9079611" cy="1243280"/>
      </dsp:txXfrm>
    </dsp:sp>
    <dsp:sp modelId="{B60F8377-7F43-4BEC-86B9-20E6A6D83CBD}">
      <dsp:nvSpPr>
        <dsp:cNvPr id="0" name=""/>
        <dsp:cNvSpPr/>
      </dsp:nvSpPr>
      <dsp:spPr>
        <a:xfrm>
          <a:off x="0" y="3108732"/>
          <a:ext cx="10515600" cy="124328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172EF0-8130-4F75-B69B-6AB8A77C5EE2}">
      <dsp:nvSpPr>
        <dsp:cNvPr id="0" name=""/>
        <dsp:cNvSpPr/>
      </dsp:nvSpPr>
      <dsp:spPr>
        <a:xfrm>
          <a:off x="376092" y="3388470"/>
          <a:ext cx="683804" cy="68380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59D8E5B-D953-4527-8960-015743A90F7F}">
      <dsp:nvSpPr>
        <dsp:cNvPr id="0" name=""/>
        <dsp:cNvSpPr/>
      </dsp:nvSpPr>
      <dsp:spPr>
        <a:xfrm>
          <a:off x="1435988" y="3108732"/>
          <a:ext cx="9079611" cy="12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581" tIns="131581" rIns="131581" bIns="131581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500" kern="1200" dirty="0"/>
            <a:t>De Buurtnet App pilot van komende winter</a:t>
          </a:r>
          <a:endParaRPr lang="en-US" sz="2500" kern="1200" dirty="0"/>
        </a:p>
      </dsp:txBody>
      <dsp:txXfrm>
        <a:off x="1435988" y="3108732"/>
        <a:ext cx="9079611" cy="12432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6B3E386D-E98E-480A-9AEF-F92BD0A8DD7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A4A49457-6316-4B55-A1E7-71507478518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89899D-DF6F-4B48-844B-A8396B8AE183}" type="datetimeFigureOut">
              <a:rPr lang="nl-NL" smtClean="0"/>
              <a:t>25-9-2025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84F431A-4516-4E56-8004-86650618C96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E329966-3589-41DF-B57D-3CF760F1AE4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8A1202-18F7-4076-872C-C9ACD39DA73E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294614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6T21:22:24.931"/>
    </inkml:context>
    <inkml:brush xml:id="br0">
      <inkml:brushProperty name="width" value="0.2" units="cm"/>
      <inkml:brushProperty name="height" value="0.2" units="cm"/>
      <inkml:brushProperty name="color" value="#FFC114"/>
    </inkml:brush>
  </inkml:definitions>
  <inkml:trace contextRef="#ctx0" brushRef="#br0">5028 141 24575,'-20'0'0,"0"0"0,0 1 0,0 1 0,0 1 0,0 1 0,0 1 0,-37 14 0,-12 12 0,27-11 0,-1-2 0,-57 17 0,74-26 0,-1 1 0,2 2 0,0 0 0,0 2 0,-32 23 0,-30 17 0,15-19 0,-86 29 0,108-45 0,-40 7 0,72-22 0,0 0 0,0 2 0,0 0 0,1 1 0,0 0 0,-32 21 0,29-13 0,0 1 0,0 0 0,2 2 0,0 0 0,1 1 0,1 1 0,-21 35 0,24-34 0,-2-1 0,0-1 0,0 0 0,-2-1 0,-35 29 0,-106 68 0,68-53 0,-241 188 0,240-191 0,-9 5 0,95-60 0,-26 18 0,30-21 0,-1 0 0,1-1 0,0 1 0,-1 0 0,1-1 0,-1 1 0,1-1 0,-1 1 0,1-1 0,-1 1 0,1-1 0,-1 0 0,0 0 0,1 0 0,-1 0 0,1 0 0,-1 0 0,-2-1 0,-1-6 0,2 3 0,-6 7 0,-18 16 0,-25 23 0,-15 11 0,39-33 0,-2-2 0,0-1 0,-1-1 0,0-1 0,-2-2 0,1-1 0,-46 9 0,32-8 0,0 1 0,1 2 0,1 2 0,-55 30 0,-25 5 0,30-5 0,-101 36 0,101-54 0,58-20 0,-67 29 0,53-14 0,-74 33 0,107-52 0,-1 0 0,1-1 0,-1-1 0,0 0 0,-26 1 0,35-5 0,0 1 0,0 0 0,0 1 0,0 0 0,0 1 0,-14 6 0,3 1 0,-30 20 0,1 0 0,0-2 0,-75 31 0,103-49 0,0 1 0,1 1 0,1 0 0,-29 25 0,24-18 0,-47 29 0,40-30 0,-48 35 0,46-28 0,9-8 0,-31 30 0,48-41 0,1 1 0,-1 1 0,2-1 0,-1 1 0,1 0 0,0 0 0,1 0 0,-6 16 0,-14 41 0,-21 67 0,39-109 0,1 0 0,1 0 0,-2 46 0,6-51 0,-1-2 0,0 0 0,2 0 0,0 0 0,0 0 0,2-1 0,0 1 0,8 24 0,-3-21 0,-1 0 0,0 0 0,-2 0 0,0 1 0,-1 0 0,2 33 0,-5-28 0,2-1 0,0 1 0,1-1 0,15 43 0,-14-54 0,2 0 0,12 19 0,2 6 0,31 48 0,-35-62 0,-2 1 0,17 35 0,85 218 0,-111-264 0,1 6 0,2 0 0,0 0 0,1-1 0,1 0 0,17 21 0,-9-17 0,-6-10 0,-2 1 0,1 1 0,-2-1 0,0 2 0,-1-1 0,0 2 0,7 19 0,2 13 0,2 0 0,2-2 0,41 64 0,-50-85 0,0 0 0,13 42 0,2 3 0,-23-61 0,1 0 0,0 0 0,1 0 0,0 0 0,13 11 0,-14-15 0,0 1 0,0 0 0,0 0 0,-1 0 0,0 1 0,0-1 0,-1 1 0,0 1 0,-1-1 0,6 17 0,-6 4 0,0 0 0,-2-1 0,-4 51 0,1-52 0,1 0 0,1 0 0,1 0 0,7 38 0,21 36 0,1 10 0,23 197 0,-26-137 0,-7-25 0,9 48 0,48 135 0,-44-142 0,-25-126 0,21 79 0,-28-137 0,5 19 0,0 0 0,1-1 0,2 0 0,0-1 0,1 0 0,13 21 0,-11-23 0,-1 0 0,0 1 0,-2 1 0,0-1 0,8 30 0,-6-20 0,1-1 0,2-1 0,20 32 0,-19-34 0,14 16 0,-22-33 0,-1-1 0,-1 1 0,0 0 0,0 1 0,0-1 0,6 19 0,-6-11 0,0-1 0,2 1 0,0-1 0,16 26 0,-2-11 0,29 32 0,-28-34 0,-2 0 0,-2 2 0,21 40 0,-1 1 0,-21-45 0,26 32 0,-28-41 0,-1 2 0,-1 0 0,21 39 0,-30-49 0,0-1 0,1 1 0,0-1 0,0 0 0,1-1 0,11 12 0,0-3 0,28 20 0,-44-36 0,8 8 0,0 1 0,0 0 0,-1 0 0,14 20 0,-17-21 0,0 0 0,1 0 0,1 0 0,-1-1 0,1 0 0,1 0 0,-1-1 0,17 10 0,110 46 0,41 32 0,-160-87 0,1-1 0,-1 0 0,1-1 0,1-1 0,-1-1 0,0 0 0,31 1 0,-39-4 0,3 2 0,0 0 0,0 0 0,-1 1 0,1 1 0,-1-1 0,13 8 0,59 36 0,-3-1 0,-56-36 0,1-1 0,-1-1 0,1-1 0,28 5 0,-41-9 0,0 1 0,0 0 0,0 0 0,0 1 0,0 1 0,10 8 0,-10-8 0,0 1 0,0-2 0,0 1 0,0-1 0,18 4 0,4-4 0,0-1 0,0-2 0,1-1 0,36-5 0,9 2 0,-35 2 0,-26 2 0,0-2 0,0 0 0,0-1 0,0-1 0,0-1 0,0 0 0,-1-1 0,18-7 0,89-32 0,-87 32 0,0-1 0,42-22 0,-4-1 0,-41 20 0,0-2 0,37-25 0,-46 27 0,0 1 0,1 1 0,0 2 0,1 0 0,33-8 0,-32 8 0,0-2 0,-1-1 0,0-1 0,-1-1 0,34-29 0,28-17 0,105-49 0,-135 80 0,57-44 0,6-4 0,-68 47 0,56-44 0,-15 9 0,-55 38 0,42-38 0,-23 17 0,-37 34 0,40-21 0,-17 10 0,23-11 0,14-10 0,-49 28 0,35-15 0,-44 24 0,0-1 0,-1-1 0,0 0 0,28-25 0,2-9 0,-12 12 0,43-49 0,-60 57 0,-7 7 0,1 1 0,1 0 0,30-24 0,-31 29 0,-1 0 0,22-26 0,-1 1 0,148-157 0,-180 190 0,0 0 0,0 0 0,-1 0 0,0-1 0,0 1 0,-1-1 0,0 0 0,0 0 0,2-10 0,2-10 0,4-34 0,-1 7 0,-4 31 0,16-35 0,-1 2 0,-6 7 0,-2 0 0,-2 0 0,6-74 0,-3-11 0,2-54 0,-3-65 0,2-55 0,-16-1069 0,-1 1340 0,-2-1 0,-10-45 0,9 54 0,-2 3 0,-14-40 0,-2-9 0,-36-113 0,51 164 0,0 1 0,-2 0 0,-1 0 0,-26-39 0,17 30 0,-18-42 0,-73-222 0,94 233 0,-11-86 0,20 105 0,-13-42 0,-1 4 0,11 34 0,3 17 0,-5-49 0,8 44 0,-2 0 0,-12-39 0,-7-30 0,15 50 0,4 25 0,-4-55 0,11 80 0,0 0 0,0 0 0,-1 1 0,0-1 0,0 0 0,0 1 0,0-1 0,0 1 0,-1-1 0,0 1 0,0 0 0,0-1 0,-1 1 0,1 0 0,-1 0 0,0 1 0,-6-7 0,-148-160 0,93 96 0,52 59 0,1-1 0,1 0 0,0 0 0,-8-20 0,9 16 0,-2 1 0,-21-31 0,18 32 0,-3-2 0,1-1 0,1-1 0,-21-39 0,-13-58 0,44 107 0,1 1 0,1-1 0,0-1 0,1 1 0,1 0 0,-1-22 0,2 23 0,-1 0 0,0 0 0,0 0 0,-1 0 0,-1 0 0,0 0 0,0 1 0,-8-18 0,-7-3 0,-49-97 0,60 112 0,1-1 0,1 1 0,0-1 0,1 0 0,1-1 0,-1-22 0,2 23 0,0-1 0,-1 0 0,-1 1 0,-1 0 0,0-1 0,-1 2 0,-1-1 0,-1 1 0,-9-16 0,7 11 0,1 1 0,-8-33 0,10 29 0,-18-37 0,13 35 0,4 8 0,-1 1 0,0-1 0,-2 2 0,0-1 0,-20-22 0,26 32 0,0 0 0,0-1 0,1 1 0,0-1 0,1 0 0,-1 0 0,2 0 0,-1 0 0,1-1 0,0 1 0,-1-16 0,1 11 0,-1-1 0,0 1 0,-1 1 0,-5-15 0,1 10 37,0 2-213,0 0 1,1-1 0,1 0 0,1-1 0,0 1-1,1-1 1,-2-22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790A07-196B-4F4B-8E8C-301FB387CBE5}" type="datetimeFigureOut">
              <a:rPr lang="nl-NL" smtClean="0"/>
              <a:t>21-9-2025</a:t>
            </a:fld>
            <a:endParaRPr lang="nl-NL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 dirty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C176B4-2F3E-4542-A88B-B482618D0CAA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177926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C176B4-2F3E-4542-A88B-B482618D0CAA}" type="slidenum">
              <a:rPr lang="nl-NL" smtClean="0"/>
              <a:t>1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859857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C176B4-2F3E-4542-A88B-B482618D0CAA}" type="slidenum">
              <a:rPr lang="nl-NL" smtClean="0"/>
              <a:t>3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604617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C176B4-2F3E-4542-A88B-B482618D0CAA}" type="slidenum">
              <a:rPr lang="nl-NL" smtClean="0"/>
              <a:t>4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424129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C176B4-2F3E-4542-A88B-B482618D0CAA}" type="slidenum">
              <a:rPr lang="nl-NL" smtClean="0"/>
              <a:t>8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445457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AE798E-200F-FD95-5B55-65F2BFA873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A921CA2D-E21C-24A3-0924-DDC6E2326E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D0816DD8-B995-0FFB-774C-AAEA3D53CD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A71A283-275A-4A1D-05A3-6B6913B401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C176B4-2F3E-4542-A88B-B482618D0CAA}" type="slidenum">
              <a:rPr lang="nl-NL" smtClean="0"/>
              <a:t>9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264189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C176B4-2F3E-4542-A88B-B482618D0CAA}" type="slidenum">
              <a:rPr lang="nl-NL" smtClean="0"/>
              <a:t>13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600114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Hoe kan je meedoen?</a:t>
            </a:r>
          </a:p>
          <a:p>
            <a:r>
              <a:rPr lang="nl-NL" dirty="0"/>
              <a:t>April/ mei ‘26 -&gt; iedereen meedoen</a:t>
            </a:r>
          </a:p>
          <a:p>
            <a:r>
              <a:rPr lang="nl-NL" dirty="0"/>
              <a:t>KGG -&gt; gedragsonderzoek 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C176B4-2F3E-4542-A88B-B482618D0CAA}" type="slidenum">
              <a:rPr lang="nl-NL" smtClean="0"/>
              <a:t>18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643415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hoek 31">
            <a:extLst>
              <a:ext uri="{FF2B5EF4-FFF2-40B4-BE49-F238E27FC236}">
                <a16:creationId xmlns:a16="http://schemas.microsoft.com/office/drawing/2014/main" id="{FB44FA68-46B7-4757-998C-7F2CA7BCB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/>
          </a:p>
        </p:txBody>
      </p:sp>
      <p:sp>
        <p:nvSpPr>
          <p:cNvPr id="136" name="Tijdelijke aanduiding voor afbeelding 135">
            <a:extLst>
              <a:ext uri="{FF2B5EF4-FFF2-40B4-BE49-F238E27FC236}">
                <a16:creationId xmlns:a16="http://schemas.microsoft.com/office/drawing/2014/main" id="{70ABD11C-2D39-460A-9871-6805FF448F5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8000" y="1377201"/>
            <a:ext cx="11597093" cy="4181221"/>
          </a:xfrm>
          <a:custGeom>
            <a:avLst/>
            <a:gdLst>
              <a:gd name="connsiteX0" fmla="*/ 0 w 11298386"/>
              <a:gd name="connsiteY0" fmla="*/ 0 h 6286212"/>
              <a:gd name="connsiteX1" fmla="*/ 11298386 w 11298386"/>
              <a:gd name="connsiteY1" fmla="*/ 0 h 6286212"/>
              <a:gd name="connsiteX2" fmla="*/ 11298386 w 11298386"/>
              <a:gd name="connsiteY2" fmla="*/ 6078273 h 6286212"/>
              <a:gd name="connsiteX3" fmla="*/ 11298386 w 11298386"/>
              <a:gd name="connsiteY3" fmla="*/ 6283325 h 6286212"/>
              <a:gd name="connsiteX4" fmla="*/ 11298386 w 11298386"/>
              <a:gd name="connsiteY4" fmla="*/ 6286212 h 6286212"/>
              <a:gd name="connsiteX5" fmla="*/ 10722386 w 11298386"/>
              <a:gd name="connsiteY5" fmla="*/ 6286212 h 6286212"/>
              <a:gd name="connsiteX6" fmla="*/ 10722386 w 11298386"/>
              <a:gd name="connsiteY6" fmla="*/ 6283325 h 6286212"/>
              <a:gd name="connsiteX7" fmla="*/ 0 w 11298386"/>
              <a:gd name="connsiteY7" fmla="*/ 6283325 h 6286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8386" h="6286212">
                <a:moveTo>
                  <a:pt x="0" y="0"/>
                </a:moveTo>
                <a:lnTo>
                  <a:pt x="11298386" y="0"/>
                </a:lnTo>
                <a:lnTo>
                  <a:pt x="11298386" y="6078273"/>
                </a:lnTo>
                <a:lnTo>
                  <a:pt x="11298386" y="6283325"/>
                </a:lnTo>
                <a:lnTo>
                  <a:pt x="11298386" y="6286212"/>
                </a:lnTo>
                <a:lnTo>
                  <a:pt x="10722386" y="6286212"/>
                </a:lnTo>
                <a:lnTo>
                  <a:pt x="10722386" y="6283325"/>
                </a:lnTo>
                <a:lnTo>
                  <a:pt x="0" y="62833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0" bIns="2880000" anchor="ctr" anchorCtr="0">
            <a:noAutofit/>
          </a:bodyPr>
          <a:lstStyle>
            <a:lvl1pPr marL="0" indent="0" algn="ctr">
              <a:buNone/>
              <a:defRPr sz="12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 dirty="0"/>
              <a:t>Selecteer dit kader, ga naar de tab ‘Invoegen’, kies de gewenste afbeelding en klik op ‘Invoegen’</a:t>
            </a:r>
          </a:p>
        </p:txBody>
      </p:sp>
      <p:grpSp>
        <p:nvGrpSpPr>
          <p:cNvPr id="16" name="GRID" hidden="1">
            <a:extLst>
              <a:ext uri="{FF2B5EF4-FFF2-40B4-BE49-F238E27FC236}">
                <a16:creationId xmlns:a16="http://schemas.microsoft.com/office/drawing/2014/main" id="{F319575D-1BE1-4CB3-B193-D94E8A4B8396}"/>
              </a:ext>
            </a:extLst>
          </p:cNvPr>
          <p:cNvGrpSpPr/>
          <p:nvPr userDrawn="1"/>
        </p:nvGrpSpPr>
        <p:grpSpPr>
          <a:xfrm>
            <a:off x="-12032" y="-282911"/>
            <a:ext cx="12204032" cy="7140911"/>
            <a:chOff x="-12032" y="-282911"/>
            <a:chExt cx="12204032" cy="7140911"/>
          </a:xfrm>
          <a:solidFill>
            <a:schemeClr val="tx1">
              <a:alpha val="20000"/>
            </a:schemeClr>
          </a:solidFill>
        </p:grpSpPr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7C649C24-162B-490D-8309-BD7F6EE15027}"/>
                </a:ext>
              </a:extLst>
            </p:cNvPr>
            <p:cNvSpPr/>
            <p:nvPr userDrawn="1"/>
          </p:nvSpPr>
          <p:spPr>
            <a:xfrm>
              <a:off x="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445FCC4D-302E-4BB9-927E-5C2398704AFC}"/>
                </a:ext>
              </a:extLst>
            </p:cNvPr>
            <p:cNvSpPr/>
            <p:nvPr userDrawn="1"/>
          </p:nvSpPr>
          <p:spPr>
            <a:xfrm>
              <a:off x="1147200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0" name="Rechthoek 19">
              <a:extLst>
                <a:ext uri="{FF2B5EF4-FFF2-40B4-BE49-F238E27FC236}">
                  <a16:creationId xmlns:a16="http://schemas.microsoft.com/office/drawing/2014/main" id="{1923E5DD-D56D-4CFB-A6A6-87D109588BB5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9B0E07BB-1FFD-4488-B5AB-558B1FF16B4E}"/>
                </a:ext>
              </a:extLst>
            </p:cNvPr>
            <p:cNvSpPr/>
            <p:nvPr userDrawn="1"/>
          </p:nvSpPr>
          <p:spPr>
            <a:xfrm>
              <a:off x="-12032" y="588015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E9B85FCB-6306-4E69-91B3-71D72DB96105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3F0BAFD4-6239-4D39-93E5-82E9E854540E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307091EB-1C56-4470-9F6C-E9F091A2EAD4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2C450DB-83CF-4EEC-926D-36621FBB62EF}"/>
                </a:ext>
              </a:extLst>
            </p:cNvPr>
            <p:cNvSpPr/>
            <p:nvPr userDrawn="1"/>
          </p:nvSpPr>
          <p:spPr>
            <a:xfrm>
              <a:off x="0" y="1063256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7" name="Rechthoek 26">
              <a:extLst>
                <a:ext uri="{FF2B5EF4-FFF2-40B4-BE49-F238E27FC236}">
                  <a16:creationId xmlns:a16="http://schemas.microsoft.com/office/drawing/2014/main" id="{377F1DB8-82CD-4686-BCE7-96BB962F0D09}"/>
                </a:ext>
              </a:extLst>
            </p:cNvPr>
            <p:cNvSpPr/>
            <p:nvPr userDrawn="1"/>
          </p:nvSpPr>
          <p:spPr>
            <a:xfrm rot="2700000">
              <a:off x="8741900" y="625281"/>
              <a:ext cx="2104384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grpSp>
        <p:nvGrpSpPr>
          <p:cNvPr id="6" name="DYNAMIC DEVICE" hidden="1">
            <a:extLst>
              <a:ext uri="{FF2B5EF4-FFF2-40B4-BE49-F238E27FC236}">
                <a16:creationId xmlns:a16="http://schemas.microsoft.com/office/drawing/2014/main" id="{B5286F1F-477A-4BE1-86FA-A1C138E1195C}"/>
              </a:ext>
            </a:extLst>
          </p:cNvPr>
          <p:cNvGrpSpPr/>
          <p:nvPr userDrawn="1"/>
        </p:nvGrpSpPr>
        <p:grpSpPr>
          <a:xfrm>
            <a:off x="281765" y="3163312"/>
            <a:ext cx="9730597" cy="1781022"/>
            <a:chOff x="281765" y="3163312"/>
            <a:chExt cx="9730597" cy="1781022"/>
          </a:xfrm>
        </p:grpSpPr>
        <p:grpSp>
          <p:nvGrpSpPr>
            <p:cNvPr id="2" name="Groep 1">
              <a:extLst>
                <a:ext uri="{FF2B5EF4-FFF2-40B4-BE49-F238E27FC236}">
                  <a16:creationId xmlns:a16="http://schemas.microsoft.com/office/drawing/2014/main" id="{FFFCDC1A-E77C-4645-AA40-37FAF279D15C}"/>
                </a:ext>
              </a:extLst>
            </p:cNvPr>
            <p:cNvGrpSpPr/>
            <p:nvPr userDrawn="1"/>
          </p:nvGrpSpPr>
          <p:grpSpPr>
            <a:xfrm>
              <a:off x="281765" y="3163312"/>
              <a:ext cx="9730597" cy="890232"/>
              <a:chOff x="281765" y="3163312"/>
              <a:chExt cx="9730597" cy="890232"/>
            </a:xfrm>
          </p:grpSpPr>
          <p:sp>
            <p:nvSpPr>
              <p:cNvPr id="98" name="Vrije vorm: vorm 97">
                <a:extLst>
                  <a:ext uri="{FF2B5EF4-FFF2-40B4-BE49-F238E27FC236}">
                    <a16:creationId xmlns:a16="http://schemas.microsoft.com/office/drawing/2014/main" id="{FB5C508C-270E-4884-BA6D-F33265BFDF73}"/>
                  </a:ext>
                </a:extLst>
              </p:cNvPr>
              <p:cNvSpPr/>
              <p:nvPr/>
            </p:nvSpPr>
            <p:spPr>
              <a:xfrm>
                <a:off x="281765" y="3163828"/>
                <a:ext cx="9730590" cy="889200"/>
              </a:xfrm>
              <a:custGeom>
                <a:avLst/>
                <a:gdLst>
                  <a:gd name="connsiteX0" fmla="*/ 0 w 3890192"/>
                  <a:gd name="connsiteY0" fmla="*/ 0 h 999022"/>
                  <a:gd name="connsiteX1" fmla="*/ 3890192 w 3890192"/>
                  <a:gd name="connsiteY1" fmla="*/ 0 h 999022"/>
                  <a:gd name="connsiteX2" fmla="*/ 3890192 w 3890192"/>
                  <a:gd name="connsiteY2" fmla="*/ 999022 h 999022"/>
                  <a:gd name="connsiteX3" fmla="*/ 0 w 3890192"/>
                  <a:gd name="connsiteY3" fmla="*/ 999022 h 999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0192" h="999022">
                    <a:moveTo>
                      <a:pt x="0" y="0"/>
                    </a:moveTo>
                    <a:lnTo>
                      <a:pt x="3890192" y="0"/>
                    </a:lnTo>
                    <a:lnTo>
                      <a:pt x="3890192" y="999022"/>
                    </a:lnTo>
                    <a:lnTo>
                      <a:pt x="0" y="999022"/>
                    </a:lnTo>
                    <a:close/>
                  </a:path>
                </a:pathLst>
              </a:custGeom>
              <a:solidFill>
                <a:srgbClr val="E5007D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2" name="Vrije vorm: vorm 101">
                <a:extLst>
                  <a:ext uri="{FF2B5EF4-FFF2-40B4-BE49-F238E27FC236}">
                    <a16:creationId xmlns:a16="http://schemas.microsoft.com/office/drawing/2014/main" id="{0FC61FF3-7A51-4A68-B99E-4D579A78B6E3}"/>
                  </a:ext>
                </a:extLst>
              </p:cNvPr>
              <p:cNvSpPr/>
              <p:nvPr/>
            </p:nvSpPr>
            <p:spPr>
              <a:xfrm>
                <a:off x="7350986" y="3164516"/>
                <a:ext cx="1781858" cy="887825"/>
              </a:xfrm>
              <a:custGeom>
                <a:avLst/>
                <a:gdLst>
                  <a:gd name="connsiteX0" fmla="*/ 0 w 758858"/>
                  <a:gd name="connsiteY0" fmla="*/ 0 h 381214"/>
                  <a:gd name="connsiteX1" fmla="*/ 755277 w 758858"/>
                  <a:gd name="connsiteY1" fmla="*/ 0 h 381214"/>
                  <a:gd name="connsiteX2" fmla="*/ 758858 w 758858"/>
                  <a:gd name="connsiteY2" fmla="*/ 3581 h 381214"/>
                  <a:gd name="connsiteX3" fmla="*/ 381225 w 758858"/>
                  <a:gd name="connsiteY3" fmla="*/ 381214 h 381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8858" h="381214">
                    <a:moveTo>
                      <a:pt x="0" y="0"/>
                    </a:moveTo>
                    <a:lnTo>
                      <a:pt x="755277" y="0"/>
                    </a:lnTo>
                    <a:lnTo>
                      <a:pt x="758858" y="3581"/>
                    </a:lnTo>
                    <a:lnTo>
                      <a:pt x="381225" y="381214"/>
                    </a:lnTo>
                    <a:close/>
                  </a:path>
                </a:pathLst>
              </a:custGeom>
              <a:solidFill>
                <a:srgbClr val="BF027F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3" name="Graphic 6">
                <a:extLst>
                  <a:ext uri="{FF2B5EF4-FFF2-40B4-BE49-F238E27FC236}">
                    <a16:creationId xmlns:a16="http://schemas.microsoft.com/office/drawing/2014/main" id="{999A557C-F10B-410E-823A-F4D0F2159B3A}"/>
                  </a:ext>
                </a:extLst>
              </p:cNvPr>
              <p:cNvSpPr/>
              <p:nvPr/>
            </p:nvSpPr>
            <p:spPr>
              <a:xfrm>
                <a:off x="8238931" y="3163312"/>
                <a:ext cx="1773431" cy="890232"/>
              </a:xfrm>
              <a:custGeom>
                <a:avLst/>
                <a:gdLst>
                  <a:gd name="connsiteX0" fmla="*/ 0 w 368433"/>
                  <a:gd name="connsiteY0" fmla="*/ 184217 h 184233"/>
                  <a:gd name="connsiteX1" fmla="*/ 368434 w 368433"/>
                  <a:gd name="connsiteY1" fmla="*/ 184234 h 184233"/>
                  <a:gd name="connsiteX2" fmla="*/ 184217 w 368433"/>
                  <a:gd name="connsiteY2" fmla="*/ 0 h 184233"/>
                  <a:gd name="connsiteX3" fmla="*/ 0 w 368433"/>
                  <a:gd name="connsiteY3" fmla="*/ 184217 h 184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433" h="184233">
                    <a:moveTo>
                      <a:pt x="0" y="184217"/>
                    </a:moveTo>
                    <a:lnTo>
                      <a:pt x="368434" y="184234"/>
                    </a:lnTo>
                    <a:lnTo>
                      <a:pt x="184217" y="0"/>
                    </a:lnTo>
                    <a:lnTo>
                      <a:pt x="0" y="184217"/>
                    </a:lnTo>
                    <a:close/>
                  </a:path>
                </a:pathLst>
              </a:custGeom>
              <a:solidFill>
                <a:srgbClr val="A71380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5" name="Groep 4">
              <a:extLst>
                <a:ext uri="{FF2B5EF4-FFF2-40B4-BE49-F238E27FC236}">
                  <a16:creationId xmlns:a16="http://schemas.microsoft.com/office/drawing/2014/main" id="{63D0F653-81D1-47C7-BF75-390D762811DF}"/>
                </a:ext>
              </a:extLst>
            </p:cNvPr>
            <p:cNvGrpSpPr/>
            <p:nvPr userDrawn="1"/>
          </p:nvGrpSpPr>
          <p:grpSpPr>
            <a:xfrm>
              <a:off x="281765" y="4054102"/>
              <a:ext cx="9730597" cy="890232"/>
              <a:chOff x="281765" y="4054102"/>
              <a:chExt cx="9730597" cy="890232"/>
            </a:xfrm>
          </p:grpSpPr>
          <p:sp>
            <p:nvSpPr>
              <p:cNvPr id="99" name="Vrije vorm: vorm 98">
                <a:extLst>
                  <a:ext uri="{FF2B5EF4-FFF2-40B4-BE49-F238E27FC236}">
                    <a16:creationId xmlns:a16="http://schemas.microsoft.com/office/drawing/2014/main" id="{2D7FDBBD-0CEA-4B3F-87AF-F9D78ADCD7B3}"/>
                  </a:ext>
                </a:extLst>
              </p:cNvPr>
              <p:cNvSpPr/>
              <p:nvPr/>
            </p:nvSpPr>
            <p:spPr>
              <a:xfrm>
                <a:off x="281765" y="4055431"/>
                <a:ext cx="9730590" cy="887574"/>
              </a:xfrm>
              <a:custGeom>
                <a:avLst/>
                <a:gdLst>
                  <a:gd name="connsiteX0" fmla="*/ 0 w 3890193"/>
                  <a:gd name="connsiteY0" fmla="*/ 0 h 998237"/>
                  <a:gd name="connsiteX1" fmla="*/ 3890193 w 3890193"/>
                  <a:gd name="connsiteY1" fmla="*/ 0 h 998237"/>
                  <a:gd name="connsiteX2" fmla="*/ 3890193 w 3890193"/>
                  <a:gd name="connsiteY2" fmla="*/ 998237 h 998237"/>
                  <a:gd name="connsiteX3" fmla="*/ 0 w 3890193"/>
                  <a:gd name="connsiteY3" fmla="*/ 998237 h 998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0193" h="998237">
                    <a:moveTo>
                      <a:pt x="0" y="0"/>
                    </a:moveTo>
                    <a:lnTo>
                      <a:pt x="3890193" y="0"/>
                    </a:lnTo>
                    <a:lnTo>
                      <a:pt x="3890193" y="998237"/>
                    </a:lnTo>
                    <a:lnTo>
                      <a:pt x="0" y="998237"/>
                    </a:lnTo>
                    <a:close/>
                  </a:path>
                </a:pathLst>
              </a:custGeom>
              <a:solidFill>
                <a:schemeClr val="accent2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1" name="Vrije vorm: vorm 100">
                <a:extLst>
                  <a:ext uri="{FF2B5EF4-FFF2-40B4-BE49-F238E27FC236}">
                    <a16:creationId xmlns:a16="http://schemas.microsoft.com/office/drawing/2014/main" id="{0DCB2CFC-88A6-4057-82D3-F9E5ABB83640}"/>
                  </a:ext>
                </a:extLst>
              </p:cNvPr>
              <p:cNvSpPr/>
              <p:nvPr/>
            </p:nvSpPr>
            <p:spPr>
              <a:xfrm>
                <a:off x="7355192" y="4054102"/>
                <a:ext cx="1773445" cy="890232"/>
              </a:xfrm>
              <a:custGeom>
                <a:avLst/>
                <a:gdLst>
                  <a:gd name="connsiteX0" fmla="*/ 377643 w 755275"/>
                  <a:gd name="connsiteY0" fmla="*/ 0 h 377632"/>
                  <a:gd name="connsiteX1" fmla="*/ 755275 w 755275"/>
                  <a:gd name="connsiteY1" fmla="*/ 377632 h 377632"/>
                  <a:gd name="connsiteX2" fmla="*/ 0 w 755275"/>
                  <a:gd name="connsiteY2" fmla="*/ 377632 h 37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5275" h="377632">
                    <a:moveTo>
                      <a:pt x="377643" y="0"/>
                    </a:moveTo>
                    <a:lnTo>
                      <a:pt x="755275" y="377632"/>
                    </a:lnTo>
                    <a:lnTo>
                      <a:pt x="0" y="377632"/>
                    </a:lnTo>
                    <a:close/>
                  </a:path>
                </a:pathLst>
              </a:custGeom>
              <a:solidFill>
                <a:srgbClr val="A7C80C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4" name="Graphic 6">
                <a:extLst>
                  <a:ext uri="{FF2B5EF4-FFF2-40B4-BE49-F238E27FC236}">
                    <a16:creationId xmlns:a16="http://schemas.microsoft.com/office/drawing/2014/main" id="{20ECF69E-B41C-471D-B162-4F9927B126DF}"/>
                  </a:ext>
                </a:extLst>
              </p:cNvPr>
              <p:cNvSpPr/>
              <p:nvPr/>
            </p:nvSpPr>
            <p:spPr>
              <a:xfrm>
                <a:off x="8238931" y="4054102"/>
                <a:ext cx="1773431" cy="890232"/>
              </a:xfrm>
              <a:custGeom>
                <a:avLst/>
                <a:gdLst>
                  <a:gd name="connsiteX0" fmla="*/ 184217 w 368433"/>
                  <a:gd name="connsiteY0" fmla="*/ 184217 h 184216"/>
                  <a:gd name="connsiteX1" fmla="*/ 368434 w 368433"/>
                  <a:gd name="connsiteY1" fmla="*/ 0 h 184216"/>
                  <a:gd name="connsiteX2" fmla="*/ 0 w 368433"/>
                  <a:gd name="connsiteY2" fmla="*/ 0 h 184216"/>
                  <a:gd name="connsiteX3" fmla="*/ 184217 w 368433"/>
                  <a:gd name="connsiteY3" fmla="*/ 184217 h 184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433" h="184216">
                    <a:moveTo>
                      <a:pt x="184217" y="184217"/>
                    </a:moveTo>
                    <a:lnTo>
                      <a:pt x="368434" y="0"/>
                    </a:lnTo>
                    <a:lnTo>
                      <a:pt x="0" y="0"/>
                    </a:lnTo>
                    <a:lnTo>
                      <a:pt x="184217" y="184217"/>
                    </a:lnTo>
                    <a:close/>
                  </a:path>
                </a:pathLst>
              </a:custGeom>
              <a:solidFill>
                <a:srgbClr val="8BBE1F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05" name="GRID" hidden="1">
            <a:extLst>
              <a:ext uri="{FF2B5EF4-FFF2-40B4-BE49-F238E27FC236}">
                <a16:creationId xmlns:a16="http://schemas.microsoft.com/office/drawing/2014/main" id="{7D174604-FE5F-4813-8732-954C528C8290}"/>
              </a:ext>
            </a:extLst>
          </p:cNvPr>
          <p:cNvGrpSpPr/>
          <p:nvPr userDrawn="1"/>
        </p:nvGrpSpPr>
        <p:grpSpPr>
          <a:xfrm>
            <a:off x="-12032" y="0"/>
            <a:ext cx="12204032" cy="6858000"/>
            <a:chOff x="-12032" y="0"/>
            <a:chExt cx="12204032" cy="6858000"/>
          </a:xfrm>
          <a:solidFill>
            <a:schemeClr val="tx1">
              <a:alpha val="20000"/>
            </a:schemeClr>
          </a:solidFill>
        </p:grpSpPr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42A51D21-EADE-4E1A-925C-FB173B9687EA}"/>
                </a:ext>
              </a:extLst>
            </p:cNvPr>
            <p:cNvSpPr/>
            <p:nvPr userDrawn="1"/>
          </p:nvSpPr>
          <p:spPr>
            <a:xfrm>
              <a:off x="0" y="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1E53A6F8-19A1-4DCA-9378-1202A64CC9EE}"/>
                </a:ext>
              </a:extLst>
            </p:cNvPr>
            <p:cNvSpPr/>
            <p:nvPr userDrawn="1"/>
          </p:nvSpPr>
          <p:spPr>
            <a:xfrm>
              <a:off x="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8" name="Rechthoek 107">
              <a:extLst>
                <a:ext uri="{FF2B5EF4-FFF2-40B4-BE49-F238E27FC236}">
                  <a16:creationId xmlns:a16="http://schemas.microsoft.com/office/drawing/2014/main" id="{EF477EAB-3AAB-489A-8B40-2617F00D944B}"/>
                </a:ext>
              </a:extLst>
            </p:cNvPr>
            <p:cNvSpPr/>
            <p:nvPr userDrawn="1"/>
          </p:nvSpPr>
          <p:spPr>
            <a:xfrm>
              <a:off x="1161600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E32858EC-9757-4F87-8E68-2E0A538BFF7A}"/>
                </a:ext>
              </a:extLst>
            </p:cNvPr>
            <p:cNvSpPr/>
            <p:nvPr userDrawn="1"/>
          </p:nvSpPr>
          <p:spPr>
            <a:xfrm>
              <a:off x="0" y="1227241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4A34094A-73F0-47BE-935E-8302DA4E0F6E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1" name="Rechthoek 110">
              <a:extLst>
                <a:ext uri="{FF2B5EF4-FFF2-40B4-BE49-F238E27FC236}">
                  <a16:creationId xmlns:a16="http://schemas.microsoft.com/office/drawing/2014/main" id="{4817BD70-983D-4F15-8C97-FDD7DA7D952A}"/>
                </a:ext>
              </a:extLst>
            </p:cNvPr>
            <p:cNvSpPr/>
            <p:nvPr userDrawn="1"/>
          </p:nvSpPr>
          <p:spPr>
            <a:xfrm>
              <a:off x="-12032" y="562646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0E36A908-5AC8-4999-875F-DA5D76447287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21FED529-B705-48AF-9500-877C1BA0E84C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4" name="Rechthoek 113">
              <a:extLst>
                <a:ext uri="{FF2B5EF4-FFF2-40B4-BE49-F238E27FC236}">
                  <a16:creationId xmlns:a16="http://schemas.microsoft.com/office/drawing/2014/main" id="{E5086412-09CE-4AD8-8F97-0E11DA4F1E25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5" name="Rechthoek 114">
              <a:extLst>
                <a:ext uri="{FF2B5EF4-FFF2-40B4-BE49-F238E27FC236}">
                  <a16:creationId xmlns:a16="http://schemas.microsoft.com/office/drawing/2014/main" id="{770B1A5F-1D9B-4DBD-BF67-9C12233D4C57}"/>
                </a:ext>
              </a:extLst>
            </p:cNvPr>
            <p:cNvSpPr/>
            <p:nvPr userDrawn="1"/>
          </p:nvSpPr>
          <p:spPr>
            <a:xfrm>
              <a:off x="0" y="628200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D8CAB18A-C6CC-485C-9315-45590F672687}"/>
                </a:ext>
              </a:extLst>
            </p:cNvPr>
            <p:cNvSpPr/>
            <p:nvPr userDrawn="1"/>
          </p:nvSpPr>
          <p:spPr>
            <a:xfrm>
              <a:off x="574675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pic>
        <p:nvPicPr>
          <p:cNvPr id="118" name="LOGO">
            <a:extLst>
              <a:ext uri="{FF2B5EF4-FFF2-40B4-BE49-F238E27FC236}">
                <a16:creationId xmlns:a16="http://schemas.microsoft.com/office/drawing/2014/main" id="{FB70A35B-491F-4797-A00B-1664EDF8E7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8004" y="45291"/>
            <a:ext cx="2643570" cy="127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56640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AANDUIDING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hoek 31">
            <a:extLst>
              <a:ext uri="{FF2B5EF4-FFF2-40B4-BE49-F238E27FC236}">
                <a16:creationId xmlns:a16="http://schemas.microsoft.com/office/drawing/2014/main" id="{FB44FA68-46B7-4757-998C-7F2CA7BCB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/>
          </a:p>
        </p:txBody>
      </p:sp>
      <p:grpSp>
        <p:nvGrpSpPr>
          <p:cNvPr id="16" name="GRID" hidden="1">
            <a:extLst>
              <a:ext uri="{FF2B5EF4-FFF2-40B4-BE49-F238E27FC236}">
                <a16:creationId xmlns:a16="http://schemas.microsoft.com/office/drawing/2014/main" id="{F319575D-1BE1-4CB3-B193-D94E8A4B8396}"/>
              </a:ext>
            </a:extLst>
          </p:cNvPr>
          <p:cNvGrpSpPr/>
          <p:nvPr userDrawn="1"/>
        </p:nvGrpSpPr>
        <p:grpSpPr>
          <a:xfrm>
            <a:off x="-12032" y="-282911"/>
            <a:ext cx="12204032" cy="7140911"/>
            <a:chOff x="-12032" y="-282911"/>
            <a:chExt cx="12204032" cy="7140911"/>
          </a:xfrm>
          <a:solidFill>
            <a:schemeClr val="tx1">
              <a:alpha val="20000"/>
            </a:schemeClr>
          </a:solidFill>
        </p:grpSpPr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7C649C24-162B-490D-8309-BD7F6EE15027}"/>
                </a:ext>
              </a:extLst>
            </p:cNvPr>
            <p:cNvSpPr/>
            <p:nvPr userDrawn="1"/>
          </p:nvSpPr>
          <p:spPr>
            <a:xfrm>
              <a:off x="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445FCC4D-302E-4BB9-927E-5C2398704AFC}"/>
                </a:ext>
              </a:extLst>
            </p:cNvPr>
            <p:cNvSpPr/>
            <p:nvPr userDrawn="1"/>
          </p:nvSpPr>
          <p:spPr>
            <a:xfrm>
              <a:off x="1147200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0" name="Rechthoek 19">
              <a:extLst>
                <a:ext uri="{FF2B5EF4-FFF2-40B4-BE49-F238E27FC236}">
                  <a16:creationId xmlns:a16="http://schemas.microsoft.com/office/drawing/2014/main" id="{1923E5DD-D56D-4CFB-A6A6-87D109588BB5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9B0E07BB-1FFD-4488-B5AB-558B1FF16B4E}"/>
                </a:ext>
              </a:extLst>
            </p:cNvPr>
            <p:cNvSpPr/>
            <p:nvPr userDrawn="1"/>
          </p:nvSpPr>
          <p:spPr>
            <a:xfrm>
              <a:off x="-12032" y="588015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E9B85FCB-6306-4E69-91B3-71D72DB96105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3F0BAFD4-6239-4D39-93E5-82E9E854540E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307091EB-1C56-4470-9F6C-E9F091A2EAD4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2C450DB-83CF-4EEC-926D-36621FBB62EF}"/>
                </a:ext>
              </a:extLst>
            </p:cNvPr>
            <p:cNvSpPr/>
            <p:nvPr userDrawn="1"/>
          </p:nvSpPr>
          <p:spPr>
            <a:xfrm>
              <a:off x="0" y="1063256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7" name="Rechthoek 26">
              <a:extLst>
                <a:ext uri="{FF2B5EF4-FFF2-40B4-BE49-F238E27FC236}">
                  <a16:creationId xmlns:a16="http://schemas.microsoft.com/office/drawing/2014/main" id="{377F1DB8-82CD-4686-BCE7-96BB962F0D09}"/>
                </a:ext>
              </a:extLst>
            </p:cNvPr>
            <p:cNvSpPr/>
            <p:nvPr userDrawn="1"/>
          </p:nvSpPr>
          <p:spPr>
            <a:xfrm rot="2700000">
              <a:off x="8741900" y="625281"/>
              <a:ext cx="2104384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grpSp>
        <p:nvGrpSpPr>
          <p:cNvPr id="6" name="DYNAMIC DEVICE" hidden="1">
            <a:extLst>
              <a:ext uri="{FF2B5EF4-FFF2-40B4-BE49-F238E27FC236}">
                <a16:creationId xmlns:a16="http://schemas.microsoft.com/office/drawing/2014/main" id="{B5286F1F-477A-4BE1-86FA-A1C138E1195C}"/>
              </a:ext>
            </a:extLst>
          </p:cNvPr>
          <p:cNvGrpSpPr/>
          <p:nvPr userDrawn="1"/>
        </p:nvGrpSpPr>
        <p:grpSpPr>
          <a:xfrm>
            <a:off x="281765" y="3163312"/>
            <a:ext cx="9730597" cy="1781022"/>
            <a:chOff x="281765" y="3163312"/>
            <a:chExt cx="9730597" cy="1781022"/>
          </a:xfrm>
        </p:grpSpPr>
        <p:grpSp>
          <p:nvGrpSpPr>
            <p:cNvPr id="2" name="Groep 1">
              <a:extLst>
                <a:ext uri="{FF2B5EF4-FFF2-40B4-BE49-F238E27FC236}">
                  <a16:creationId xmlns:a16="http://schemas.microsoft.com/office/drawing/2014/main" id="{FFFCDC1A-E77C-4645-AA40-37FAF279D15C}"/>
                </a:ext>
              </a:extLst>
            </p:cNvPr>
            <p:cNvGrpSpPr/>
            <p:nvPr userDrawn="1"/>
          </p:nvGrpSpPr>
          <p:grpSpPr>
            <a:xfrm>
              <a:off x="281765" y="3163312"/>
              <a:ext cx="9730597" cy="890232"/>
              <a:chOff x="281765" y="3163312"/>
              <a:chExt cx="9730597" cy="890232"/>
            </a:xfrm>
          </p:grpSpPr>
          <p:sp>
            <p:nvSpPr>
              <p:cNvPr id="98" name="Vrije vorm: vorm 97">
                <a:extLst>
                  <a:ext uri="{FF2B5EF4-FFF2-40B4-BE49-F238E27FC236}">
                    <a16:creationId xmlns:a16="http://schemas.microsoft.com/office/drawing/2014/main" id="{FB5C508C-270E-4884-BA6D-F33265BFDF73}"/>
                  </a:ext>
                </a:extLst>
              </p:cNvPr>
              <p:cNvSpPr/>
              <p:nvPr/>
            </p:nvSpPr>
            <p:spPr>
              <a:xfrm>
                <a:off x="281765" y="3163828"/>
                <a:ext cx="9730590" cy="889200"/>
              </a:xfrm>
              <a:custGeom>
                <a:avLst/>
                <a:gdLst>
                  <a:gd name="connsiteX0" fmla="*/ 0 w 3890192"/>
                  <a:gd name="connsiteY0" fmla="*/ 0 h 999022"/>
                  <a:gd name="connsiteX1" fmla="*/ 3890192 w 3890192"/>
                  <a:gd name="connsiteY1" fmla="*/ 0 h 999022"/>
                  <a:gd name="connsiteX2" fmla="*/ 3890192 w 3890192"/>
                  <a:gd name="connsiteY2" fmla="*/ 999022 h 999022"/>
                  <a:gd name="connsiteX3" fmla="*/ 0 w 3890192"/>
                  <a:gd name="connsiteY3" fmla="*/ 999022 h 999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0192" h="999022">
                    <a:moveTo>
                      <a:pt x="0" y="0"/>
                    </a:moveTo>
                    <a:lnTo>
                      <a:pt x="3890192" y="0"/>
                    </a:lnTo>
                    <a:lnTo>
                      <a:pt x="3890192" y="999022"/>
                    </a:lnTo>
                    <a:lnTo>
                      <a:pt x="0" y="999022"/>
                    </a:lnTo>
                    <a:close/>
                  </a:path>
                </a:pathLst>
              </a:custGeom>
              <a:solidFill>
                <a:srgbClr val="E5007D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2" name="Vrije vorm: vorm 101">
                <a:extLst>
                  <a:ext uri="{FF2B5EF4-FFF2-40B4-BE49-F238E27FC236}">
                    <a16:creationId xmlns:a16="http://schemas.microsoft.com/office/drawing/2014/main" id="{0FC61FF3-7A51-4A68-B99E-4D579A78B6E3}"/>
                  </a:ext>
                </a:extLst>
              </p:cNvPr>
              <p:cNvSpPr/>
              <p:nvPr/>
            </p:nvSpPr>
            <p:spPr>
              <a:xfrm>
                <a:off x="7350986" y="3164516"/>
                <a:ext cx="1781858" cy="887825"/>
              </a:xfrm>
              <a:custGeom>
                <a:avLst/>
                <a:gdLst>
                  <a:gd name="connsiteX0" fmla="*/ 0 w 758858"/>
                  <a:gd name="connsiteY0" fmla="*/ 0 h 381214"/>
                  <a:gd name="connsiteX1" fmla="*/ 755277 w 758858"/>
                  <a:gd name="connsiteY1" fmla="*/ 0 h 381214"/>
                  <a:gd name="connsiteX2" fmla="*/ 758858 w 758858"/>
                  <a:gd name="connsiteY2" fmla="*/ 3581 h 381214"/>
                  <a:gd name="connsiteX3" fmla="*/ 381225 w 758858"/>
                  <a:gd name="connsiteY3" fmla="*/ 381214 h 381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8858" h="381214">
                    <a:moveTo>
                      <a:pt x="0" y="0"/>
                    </a:moveTo>
                    <a:lnTo>
                      <a:pt x="755277" y="0"/>
                    </a:lnTo>
                    <a:lnTo>
                      <a:pt x="758858" y="3581"/>
                    </a:lnTo>
                    <a:lnTo>
                      <a:pt x="381225" y="381214"/>
                    </a:lnTo>
                    <a:close/>
                  </a:path>
                </a:pathLst>
              </a:custGeom>
              <a:solidFill>
                <a:srgbClr val="BF027F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3" name="Graphic 6">
                <a:extLst>
                  <a:ext uri="{FF2B5EF4-FFF2-40B4-BE49-F238E27FC236}">
                    <a16:creationId xmlns:a16="http://schemas.microsoft.com/office/drawing/2014/main" id="{999A557C-F10B-410E-823A-F4D0F2159B3A}"/>
                  </a:ext>
                </a:extLst>
              </p:cNvPr>
              <p:cNvSpPr/>
              <p:nvPr/>
            </p:nvSpPr>
            <p:spPr>
              <a:xfrm>
                <a:off x="8238931" y="3163312"/>
                <a:ext cx="1773431" cy="890232"/>
              </a:xfrm>
              <a:custGeom>
                <a:avLst/>
                <a:gdLst>
                  <a:gd name="connsiteX0" fmla="*/ 0 w 368433"/>
                  <a:gd name="connsiteY0" fmla="*/ 184217 h 184233"/>
                  <a:gd name="connsiteX1" fmla="*/ 368434 w 368433"/>
                  <a:gd name="connsiteY1" fmla="*/ 184234 h 184233"/>
                  <a:gd name="connsiteX2" fmla="*/ 184217 w 368433"/>
                  <a:gd name="connsiteY2" fmla="*/ 0 h 184233"/>
                  <a:gd name="connsiteX3" fmla="*/ 0 w 368433"/>
                  <a:gd name="connsiteY3" fmla="*/ 184217 h 184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433" h="184233">
                    <a:moveTo>
                      <a:pt x="0" y="184217"/>
                    </a:moveTo>
                    <a:lnTo>
                      <a:pt x="368434" y="184234"/>
                    </a:lnTo>
                    <a:lnTo>
                      <a:pt x="184217" y="0"/>
                    </a:lnTo>
                    <a:lnTo>
                      <a:pt x="0" y="184217"/>
                    </a:lnTo>
                    <a:close/>
                  </a:path>
                </a:pathLst>
              </a:custGeom>
              <a:solidFill>
                <a:srgbClr val="A71380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5" name="Groep 4">
              <a:extLst>
                <a:ext uri="{FF2B5EF4-FFF2-40B4-BE49-F238E27FC236}">
                  <a16:creationId xmlns:a16="http://schemas.microsoft.com/office/drawing/2014/main" id="{63D0F653-81D1-47C7-BF75-390D762811DF}"/>
                </a:ext>
              </a:extLst>
            </p:cNvPr>
            <p:cNvGrpSpPr/>
            <p:nvPr userDrawn="1"/>
          </p:nvGrpSpPr>
          <p:grpSpPr>
            <a:xfrm>
              <a:off x="281765" y="4054102"/>
              <a:ext cx="9730597" cy="890232"/>
              <a:chOff x="281765" y="4054102"/>
              <a:chExt cx="9730597" cy="890232"/>
            </a:xfrm>
          </p:grpSpPr>
          <p:sp>
            <p:nvSpPr>
              <p:cNvPr id="99" name="Vrije vorm: vorm 98">
                <a:extLst>
                  <a:ext uri="{FF2B5EF4-FFF2-40B4-BE49-F238E27FC236}">
                    <a16:creationId xmlns:a16="http://schemas.microsoft.com/office/drawing/2014/main" id="{2D7FDBBD-0CEA-4B3F-87AF-F9D78ADCD7B3}"/>
                  </a:ext>
                </a:extLst>
              </p:cNvPr>
              <p:cNvSpPr/>
              <p:nvPr/>
            </p:nvSpPr>
            <p:spPr>
              <a:xfrm>
                <a:off x="281765" y="4055431"/>
                <a:ext cx="9730590" cy="887574"/>
              </a:xfrm>
              <a:custGeom>
                <a:avLst/>
                <a:gdLst>
                  <a:gd name="connsiteX0" fmla="*/ 0 w 3890193"/>
                  <a:gd name="connsiteY0" fmla="*/ 0 h 998237"/>
                  <a:gd name="connsiteX1" fmla="*/ 3890193 w 3890193"/>
                  <a:gd name="connsiteY1" fmla="*/ 0 h 998237"/>
                  <a:gd name="connsiteX2" fmla="*/ 3890193 w 3890193"/>
                  <a:gd name="connsiteY2" fmla="*/ 998237 h 998237"/>
                  <a:gd name="connsiteX3" fmla="*/ 0 w 3890193"/>
                  <a:gd name="connsiteY3" fmla="*/ 998237 h 998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0193" h="998237">
                    <a:moveTo>
                      <a:pt x="0" y="0"/>
                    </a:moveTo>
                    <a:lnTo>
                      <a:pt x="3890193" y="0"/>
                    </a:lnTo>
                    <a:lnTo>
                      <a:pt x="3890193" y="998237"/>
                    </a:lnTo>
                    <a:lnTo>
                      <a:pt x="0" y="998237"/>
                    </a:lnTo>
                    <a:close/>
                  </a:path>
                </a:pathLst>
              </a:custGeom>
              <a:solidFill>
                <a:schemeClr val="accent2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1" name="Vrije vorm: vorm 100">
                <a:extLst>
                  <a:ext uri="{FF2B5EF4-FFF2-40B4-BE49-F238E27FC236}">
                    <a16:creationId xmlns:a16="http://schemas.microsoft.com/office/drawing/2014/main" id="{0DCB2CFC-88A6-4057-82D3-F9E5ABB83640}"/>
                  </a:ext>
                </a:extLst>
              </p:cNvPr>
              <p:cNvSpPr/>
              <p:nvPr/>
            </p:nvSpPr>
            <p:spPr>
              <a:xfrm>
                <a:off x="7355192" y="4054102"/>
                <a:ext cx="1773445" cy="890232"/>
              </a:xfrm>
              <a:custGeom>
                <a:avLst/>
                <a:gdLst>
                  <a:gd name="connsiteX0" fmla="*/ 377643 w 755275"/>
                  <a:gd name="connsiteY0" fmla="*/ 0 h 377632"/>
                  <a:gd name="connsiteX1" fmla="*/ 755275 w 755275"/>
                  <a:gd name="connsiteY1" fmla="*/ 377632 h 377632"/>
                  <a:gd name="connsiteX2" fmla="*/ 0 w 755275"/>
                  <a:gd name="connsiteY2" fmla="*/ 377632 h 37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5275" h="377632">
                    <a:moveTo>
                      <a:pt x="377643" y="0"/>
                    </a:moveTo>
                    <a:lnTo>
                      <a:pt x="755275" y="377632"/>
                    </a:lnTo>
                    <a:lnTo>
                      <a:pt x="0" y="377632"/>
                    </a:lnTo>
                    <a:close/>
                  </a:path>
                </a:pathLst>
              </a:custGeom>
              <a:solidFill>
                <a:srgbClr val="A7C80C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4" name="Graphic 6">
                <a:extLst>
                  <a:ext uri="{FF2B5EF4-FFF2-40B4-BE49-F238E27FC236}">
                    <a16:creationId xmlns:a16="http://schemas.microsoft.com/office/drawing/2014/main" id="{20ECF69E-B41C-471D-B162-4F9927B126DF}"/>
                  </a:ext>
                </a:extLst>
              </p:cNvPr>
              <p:cNvSpPr/>
              <p:nvPr/>
            </p:nvSpPr>
            <p:spPr>
              <a:xfrm>
                <a:off x="8238931" y="4054102"/>
                <a:ext cx="1773431" cy="890232"/>
              </a:xfrm>
              <a:custGeom>
                <a:avLst/>
                <a:gdLst>
                  <a:gd name="connsiteX0" fmla="*/ 184217 w 368433"/>
                  <a:gd name="connsiteY0" fmla="*/ 184217 h 184216"/>
                  <a:gd name="connsiteX1" fmla="*/ 368434 w 368433"/>
                  <a:gd name="connsiteY1" fmla="*/ 0 h 184216"/>
                  <a:gd name="connsiteX2" fmla="*/ 0 w 368433"/>
                  <a:gd name="connsiteY2" fmla="*/ 0 h 184216"/>
                  <a:gd name="connsiteX3" fmla="*/ 184217 w 368433"/>
                  <a:gd name="connsiteY3" fmla="*/ 184217 h 184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433" h="184216">
                    <a:moveTo>
                      <a:pt x="184217" y="184217"/>
                    </a:moveTo>
                    <a:lnTo>
                      <a:pt x="368434" y="0"/>
                    </a:lnTo>
                    <a:lnTo>
                      <a:pt x="0" y="0"/>
                    </a:lnTo>
                    <a:lnTo>
                      <a:pt x="184217" y="184217"/>
                    </a:lnTo>
                    <a:close/>
                  </a:path>
                </a:pathLst>
              </a:custGeom>
              <a:solidFill>
                <a:srgbClr val="8BBE1F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05" name="GRID" hidden="1">
            <a:extLst>
              <a:ext uri="{FF2B5EF4-FFF2-40B4-BE49-F238E27FC236}">
                <a16:creationId xmlns:a16="http://schemas.microsoft.com/office/drawing/2014/main" id="{7D174604-FE5F-4813-8732-954C528C8290}"/>
              </a:ext>
            </a:extLst>
          </p:cNvPr>
          <p:cNvGrpSpPr/>
          <p:nvPr userDrawn="1"/>
        </p:nvGrpSpPr>
        <p:grpSpPr>
          <a:xfrm>
            <a:off x="-12032" y="0"/>
            <a:ext cx="12204032" cy="6858000"/>
            <a:chOff x="-12032" y="0"/>
            <a:chExt cx="12204032" cy="6858000"/>
          </a:xfrm>
          <a:solidFill>
            <a:schemeClr val="tx1">
              <a:alpha val="20000"/>
            </a:schemeClr>
          </a:solidFill>
        </p:grpSpPr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42A51D21-EADE-4E1A-925C-FB173B9687EA}"/>
                </a:ext>
              </a:extLst>
            </p:cNvPr>
            <p:cNvSpPr/>
            <p:nvPr userDrawn="1"/>
          </p:nvSpPr>
          <p:spPr>
            <a:xfrm>
              <a:off x="0" y="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1E53A6F8-19A1-4DCA-9378-1202A64CC9EE}"/>
                </a:ext>
              </a:extLst>
            </p:cNvPr>
            <p:cNvSpPr/>
            <p:nvPr userDrawn="1"/>
          </p:nvSpPr>
          <p:spPr>
            <a:xfrm>
              <a:off x="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8" name="Rechthoek 107">
              <a:extLst>
                <a:ext uri="{FF2B5EF4-FFF2-40B4-BE49-F238E27FC236}">
                  <a16:creationId xmlns:a16="http://schemas.microsoft.com/office/drawing/2014/main" id="{EF477EAB-3AAB-489A-8B40-2617F00D944B}"/>
                </a:ext>
              </a:extLst>
            </p:cNvPr>
            <p:cNvSpPr/>
            <p:nvPr userDrawn="1"/>
          </p:nvSpPr>
          <p:spPr>
            <a:xfrm>
              <a:off x="1161600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E32858EC-9757-4F87-8E68-2E0A538BFF7A}"/>
                </a:ext>
              </a:extLst>
            </p:cNvPr>
            <p:cNvSpPr/>
            <p:nvPr userDrawn="1"/>
          </p:nvSpPr>
          <p:spPr>
            <a:xfrm>
              <a:off x="0" y="1227241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4A34094A-73F0-47BE-935E-8302DA4E0F6E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1" name="Rechthoek 110">
              <a:extLst>
                <a:ext uri="{FF2B5EF4-FFF2-40B4-BE49-F238E27FC236}">
                  <a16:creationId xmlns:a16="http://schemas.microsoft.com/office/drawing/2014/main" id="{4817BD70-983D-4F15-8C97-FDD7DA7D952A}"/>
                </a:ext>
              </a:extLst>
            </p:cNvPr>
            <p:cNvSpPr/>
            <p:nvPr userDrawn="1"/>
          </p:nvSpPr>
          <p:spPr>
            <a:xfrm>
              <a:off x="-12032" y="562646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0E36A908-5AC8-4999-875F-DA5D76447287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21FED529-B705-48AF-9500-877C1BA0E84C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4" name="Rechthoek 113">
              <a:extLst>
                <a:ext uri="{FF2B5EF4-FFF2-40B4-BE49-F238E27FC236}">
                  <a16:creationId xmlns:a16="http://schemas.microsoft.com/office/drawing/2014/main" id="{E5086412-09CE-4AD8-8F97-0E11DA4F1E25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5" name="Rechthoek 114">
              <a:extLst>
                <a:ext uri="{FF2B5EF4-FFF2-40B4-BE49-F238E27FC236}">
                  <a16:creationId xmlns:a16="http://schemas.microsoft.com/office/drawing/2014/main" id="{770B1A5F-1D9B-4DBD-BF67-9C12233D4C57}"/>
                </a:ext>
              </a:extLst>
            </p:cNvPr>
            <p:cNvSpPr/>
            <p:nvPr userDrawn="1"/>
          </p:nvSpPr>
          <p:spPr>
            <a:xfrm>
              <a:off x="0" y="628200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D8CAB18A-C6CC-485C-9315-45590F672687}"/>
                </a:ext>
              </a:extLst>
            </p:cNvPr>
            <p:cNvSpPr/>
            <p:nvPr userDrawn="1"/>
          </p:nvSpPr>
          <p:spPr>
            <a:xfrm>
              <a:off x="574675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pic>
        <p:nvPicPr>
          <p:cNvPr id="116" name="LOGO">
            <a:extLst>
              <a:ext uri="{FF2B5EF4-FFF2-40B4-BE49-F238E27FC236}">
                <a16:creationId xmlns:a16="http://schemas.microsoft.com/office/drawing/2014/main" id="{5810A441-AF62-4652-80C1-7505A11B07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8004" y="45291"/>
            <a:ext cx="2643570" cy="1277168"/>
          </a:xfrm>
          <a:prstGeom prst="rect">
            <a:avLst/>
          </a:prstGeom>
        </p:spPr>
      </p:pic>
      <p:sp>
        <p:nvSpPr>
          <p:cNvPr id="118" name="Tijdelijke aanduiding voor afbeelding 118">
            <a:extLst>
              <a:ext uri="{FF2B5EF4-FFF2-40B4-BE49-F238E27FC236}">
                <a16:creationId xmlns:a16="http://schemas.microsoft.com/office/drawing/2014/main" id="{C5CDDEAB-6BC9-421D-9DE1-AEB1582D99E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02399" y="1377202"/>
            <a:ext cx="11599137" cy="5193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0" bIns="2880000" anchor="ctr" anchorCtr="0">
            <a:noAutofit/>
          </a:bodyPr>
          <a:lstStyle>
            <a:lvl1pPr marL="0" indent="0" algn="ctr">
              <a:buNone/>
              <a:defRPr sz="12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 dirty="0"/>
              <a:t>Selecteer dit kader, ga naar de tab ‘Invoegen’, kies de gewenste afbeelding en klik op ‘Invoegen’</a:t>
            </a:r>
          </a:p>
        </p:txBody>
      </p:sp>
    </p:spTree>
    <p:extLst>
      <p:ext uri="{BB962C8B-B14F-4D97-AF65-F5344CB8AC3E}">
        <p14:creationId xmlns:p14="http://schemas.microsoft.com/office/powerpoint/2010/main" val="379100371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ITING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hoek 31">
            <a:extLst>
              <a:ext uri="{FF2B5EF4-FFF2-40B4-BE49-F238E27FC236}">
                <a16:creationId xmlns:a16="http://schemas.microsoft.com/office/drawing/2014/main" id="{FB44FA68-46B7-4757-998C-7F2CA7BCB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/>
          </a:p>
        </p:txBody>
      </p:sp>
      <p:sp>
        <p:nvSpPr>
          <p:cNvPr id="100" name="Graphic 6">
            <a:extLst>
              <a:ext uri="{FF2B5EF4-FFF2-40B4-BE49-F238E27FC236}">
                <a16:creationId xmlns:a16="http://schemas.microsoft.com/office/drawing/2014/main" id="{69AA73F0-BB63-4FB9-94A2-F59B150DD906}"/>
              </a:ext>
            </a:extLst>
          </p:cNvPr>
          <p:cNvSpPr/>
          <p:nvPr/>
        </p:nvSpPr>
        <p:spPr>
          <a:xfrm>
            <a:off x="8238931" y="4053259"/>
            <a:ext cx="8042" cy="77"/>
          </a:xfrm>
          <a:custGeom>
            <a:avLst/>
            <a:gdLst>
              <a:gd name="connsiteX0" fmla="*/ 0 w 1671"/>
              <a:gd name="connsiteY0" fmla="*/ 17 h 16"/>
              <a:gd name="connsiteX1" fmla="*/ 0 w 1671"/>
              <a:gd name="connsiteY1" fmla="*/ 0 h 16"/>
              <a:gd name="connsiteX2" fmla="*/ 0 w 1671"/>
              <a:gd name="connsiteY2" fmla="*/ 17 h 16"/>
              <a:gd name="connsiteX3" fmla="*/ 0 w 1671"/>
              <a:gd name="connsiteY3" fmla="*/ 17 h 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1" h="16">
                <a:moveTo>
                  <a:pt x="0" y="17"/>
                </a:moveTo>
                <a:lnTo>
                  <a:pt x="0" y="0"/>
                </a:lnTo>
                <a:lnTo>
                  <a:pt x="0" y="17"/>
                </a:lnTo>
                <a:lnTo>
                  <a:pt x="0" y="17"/>
                </a:lnTo>
                <a:close/>
              </a:path>
            </a:pathLst>
          </a:custGeom>
          <a:solidFill>
            <a:srgbClr val="A7C70E"/>
          </a:solidFill>
          <a:ln w="1669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107" name="Tijdelijke aanduiding voor afbeelding 135">
            <a:extLst>
              <a:ext uri="{FF2B5EF4-FFF2-40B4-BE49-F238E27FC236}">
                <a16:creationId xmlns:a16="http://schemas.microsoft.com/office/drawing/2014/main" id="{58F1B3AD-876F-450F-A3B4-65DC4107D56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1994" y="1376362"/>
            <a:ext cx="11573099" cy="2737134"/>
          </a:xfrm>
          <a:custGeom>
            <a:avLst/>
            <a:gdLst>
              <a:gd name="connsiteX0" fmla="*/ 0 w 11298386"/>
              <a:gd name="connsiteY0" fmla="*/ 0 h 6286212"/>
              <a:gd name="connsiteX1" fmla="*/ 11298386 w 11298386"/>
              <a:gd name="connsiteY1" fmla="*/ 0 h 6286212"/>
              <a:gd name="connsiteX2" fmla="*/ 11298386 w 11298386"/>
              <a:gd name="connsiteY2" fmla="*/ 6078273 h 6286212"/>
              <a:gd name="connsiteX3" fmla="*/ 11298386 w 11298386"/>
              <a:gd name="connsiteY3" fmla="*/ 6283325 h 6286212"/>
              <a:gd name="connsiteX4" fmla="*/ 11298386 w 11298386"/>
              <a:gd name="connsiteY4" fmla="*/ 6286212 h 6286212"/>
              <a:gd name="connsiteX5" fmla="*/ 10722386 w 11298386"/>
              <a:gd name="connsiteY5" fmla="*/ 6286212 h 6286212"/>
              <a:gd name="connsiteX6" fmla="*/ 10722386 w 11298386"/>
              <a:gd name="connsiteY6" fmla="*/ 6283325 h 6286212"/>
              <a:gd name="connsiteX7" fmla="*/ 0 w 11298386"/>
              <a:gd name="connsiteY7" fmla="*/ 6283325 h 6286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8386" h="6286212">
                <a:moveTo>
                  <a:pt x="0" y="0"/>
                </a:moveTo>
                <a:lnTo>
                  <a:pt x="11298386" y="0"/>
                </a:lnTo>
                <a:lnTo>
                  <a:pt x="11298386" y="6078273"/>
                </a:lnTo>
                <a:lnTo>
                  <a:pt x="11298386" y="6283325"/>
                </a:lnTo>
                <a:lnTo>
                  <a:pt x="11298386" y="6286212"/>
                </a:lnTo>
                <a:lnTo>
                  <a:pt x="10722386" y="6286212"/>
                </a:lnTo>
                <a:lnTo>
                  <a:pt x="10722386" y="6283325"/>
                </a:lnTo>
                <a:lnTo>
                  <a:pt x="0" y="62833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800000" bIns="2880000" anchor="ctr" anchorCtr="0">
            <a:noAutofit/>
          </a:bodyPr>
          <a:lstStyle>
            <a:lvl1pPr marL="0" indent="0" algn="ctr">
              <a:buNone/>
              <a:defRPr sz="12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 dirty="0"/>
              <a:t>Selecteer dit kader, ga naar de tab ‘Invoegen’, kies de gewenste afbeelding en klik op ‘Invoegen’</a:t>
            </a:r>
          </a:p>
        </p:txBody>
      </p:sp>
      <p:pic>
        <p:nvPicPr>
          <p:cNvPr id="108" name="LOGO">
            <a:extLst>
              <a:ext uri="{FF2B5EF4-FFF2-40B4-BE49-F238E27FC236}">
                <a16:creationId xmlns:a16="http://schemas.microsoft.com/office/drawing/2014/main" id="{2DEA8D2D-CE1B-4815-9E8B-415EF2D18B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8004" y="45291"/>
            <a:ext cx="2643570" cy="127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8002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ITING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hoek 31">
            <a:extLst>
              <a:ext uri="{FF2B5EF4-FFF2-40B4-BE49-F238E27FC236}">
                <a16:creationId xmlns:a16="http://schemas.microsoft.com/office/drawing/2014/main" id="{FB44FA68-46B7-4757-998C-7F2CA7BCB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/>
          </a:p>
        </p:txBody>
      </p:sp>
      <p:sp>
        <p:nvSpPr>
          <p:cNvPr id="124" name="Tijdelijke aanduiding voor afbeelding 118">
            <a:extLst>
              <a:ext uri="{FF2B5EF4-FFF2-40B4-BE49-F238E27FC236}">
                <a16:creationId xmlns:a16="http://schemas.microsoft.com/office/drawing/2014/main" id="{E2D608D8-B092-4D69-9621-E6328CC04A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02400" y="1377202"/>
            <a:ext cx="7381784" cy="5193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0" bIns="2880000" anchor="ctr" anchorCtr="0">
            <a:noAutofit/>
          </a:bodyPr>
          <a:lstStyle>
            <a:lvl1pPr marL="0" indent="0" algn="ctr">
              <a:buNone/>
              <a:defRPr sz="12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 dirty="0"/>
              <a:t>Selecteer dit kader, ga naar de tab ‘Invoegen’, kies de gewenste afbeelding en klik op ‘Invoegen’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D3B8A753-7F04-41FA-AD2B-4A41A1919D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4172" y="45291"/>
            <a:ext cx="2643570" cy="1277168"/>
          </a:xfrm>
          <a:prstGeom prst="rect">
            <a:avLst/>
          </a:prstGeom>
        </p:spPr>
      </p:pic>
      <p:grpSp>
        <p:nvGrpSpPr>
          <p:cNvPr id="16" name="GRID" hidden="1">
            <a:extLst>
              <a:ext uri="{FF2B5EF4-FFF2-40B4-BE49-F238E27FC236}">
                <a16:creationId xmlns:a16="http://schemas.microsoft.com/office/drawing/2014/main" id="{F319575D-1BE1-4CB3-B193-D94E8A4B8396}"/>
              </a:ext>
            </a:extLst>
          </p:cNvPr>
          <p:cNvGrpSpPr/>
          <p:nvPr userDrawn="1"/>
        </p:nvGrpSpPr>
        <p:grpSpPr>
          <a:xfrm>
            <a:off x="-12032" y="-282911"/>
            <a:ext cx="12204032" cy="7140911"/>
            <a:chOff x="-12032" y="-282911"/>
            <a:chExt cx="12204032" cy="7140911"/>
          </a:xfrm>
          <a:solidFill>
            <a:schemeClr val="tx1">
              <a:alpha val="20000"/>
            </a:schemeClr>
          </a:solidFill>
        </p:grpSpPr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7C649C24-162B-490D-8309-BD7F6EE15027}"/>
                </a:ext>
              </a:extLst>
            </p:cNvPr>
            <p:cNvSpPr/>
            <p:nvPr userDrawn="1"/>
          </p:nvSpPr>
          <p:spPr>
            <a:xfrm>
              <a:off x="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445FCC4D-302E-4BB9-927E-5C2398704AFC}"/>
                </a:ext>
              </a:extLst>
            </p:cNvPr>
            <p:cNvSpPr/>
            <p:nvPr userDrawn="1"/>
          </p:nvSpPr>
          <p:spPr>
            <a:xfrm>
              <a:off x="1147200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0" name="Rechthoek 19">
              <a:extLst>
                <a:ext uri="{FF2B5EF4-FFF2-40B4-BE49-F238E27FC236}">
                  <a16:creationId xmlns:a16="http://schemas.microsoft.com/office/drawing/2014/main" id="{1923E5DD-D56D-4CFB-A6A6-87D109588BB5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9B0E07BB-1FFD-4488-B5AB-558B1FF16B4E}"/>
                </a:ext>
              </a:extLst>
            </p:cNvPr>
            <p:cNvSpPr/>
            <p:nvPr userDrawn="1"/>
          </p:nvSpPr>
          <p:spPr>
            <a:xfrm>
              <a:off x="-12032" y="588015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E9B85FCB-6306-4E69-91B3-71D72DB96105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3F0BAFD4-6239-4D39-93E5-82E9E854540E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307091EB-1C56-4470-9F6C-E9F091A2EAD4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2C450DB-83CF-4EEC-926D-36621FBB62EF}"/>
                </a:ext>
              </a:extLst>
            </p:cNvPr>
            <p:cNvSpPr/>
            <p:nvPr userDrawn="1"/>
          </p:nvSpPr>
          <p:spPr>
            <a:xfrm>
              <a:off x="0" y="1063256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7" name="Rechthoek 26">
              <a:extLst>
                <a:ext uri="{FF2B5EF4-FFF2-40B4-BE49-F238E27FC236}">
                  <a16:creationId xmlns:a16="http://schemas.microsoft.com/office/drawing/2014/main" id="{377F1DB8-82CD-4686-BCE7-96BB962F0D09}"/>
                </a:ext>
              </a:extLst>
            </p:cNvPr>
            <p:cNvSpPr/>
            <p:nvPr userDrawn="1"/>
          </p:nvSpPr>
          <p:spPr>
            <a:xfrm rot="2700000">
              <a:off x="8741900" y="625281"/>
              <a:ext cx="2104384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grpSp>
        <p:nvGrpSpPr>
          <p:cNvPr id="6" name="DYNAMIC DEVICE" hidden="1">
            <a:extLst>
              <a:ext uri="{FF2B5EF4-FFF2-40B4-BE49-F238E27FC236}">
                <a16:creationId xmlns:a16="http://schemas.microsoft.com/office/drawing/2014/main" id="{B5286F1F-477A-4BE1-86FA-A1C138E1195C}"/>
              </a:ext>
            </a:extLst>
          </p:cNvPr>
          <p:cNvGrpSpPr/>
          <p:nvPr userDrawn="1"/>
        </p:nvGrpSpPr>
        <p:grpSpPr>
          <a:xfrm>
            <a:off x="281765" y="3163312"/>
            <a:ext cx="9730597" cy="1781022"/>
            <a:chOff x="281765" y="3163312"/>
            <a:chExt cx="9730597" cy="1781022"/>
          </a:xfrm>
        </p:grpSpPr>
        <p:grpSp>
          <p:nvGrpSpPr>
            <p:cNvPr id="2" name="Groep 1">
              <a:extLst>
                <a:ext uri="{FF2B5EF4-FFF2-40B4-BE49-F238E27FC236}">
                  <a16:creationId xmlns:a16="http://schemas.microsoft.com/office/drawing/2014/main" id="{FFFCDC1A-E77C-4645-AA40-37FAF279D15C}"/>
                </a:ext>
              </a:extLst>
            </p:cNvPr>
            <p:cNvGrpSpPr/>
            <p:nvPr userDrawn="1"/>
          </p:nvGrpSpPr>
          <p:grpSpPr>
            <a:xfrm>
              <a:off x="281765" y="3163312"/>
              <a:ext cx="9730597" cy="890232"/>
              <a:chOff x="281765" y="3163312"/>
              <a:chExt cx="9730597" cy="890232"/>
            </a:xfrm>
          </p:grpSpPr>
          <p:sp>
            <p:nvSpPr>
              <p:cNvPr id="98" name="Vrije vorm: vorm 97">
                <a:extLst>
                  <a:ext uri="{FF2B5EF4-FFF2-40B4-BE49-F238E27FC236}">
                    <a16:creationId xmlns:a16="http://schemas.microsoft.com/office/drawing/2014/main" id="{FB5C508C-270E-4884-BA6D-F33265BFDF73}"/>
                  </a:ext>
                </a:extLst>
              </p:cNvPr>
              <p:cNvSpPr/>
              <p:nvPr/>
            </p:nvSpPr>
            <p:spPr>
              <a:xfrm>
                <a:off x="281765" y="3163828"/>
                <a:ext cx="9730590" cy="889200"/>
              </a:xfrm>
              <a:custGeom>
                <a:avLst/>
                <a:gdLst>
                  <a:gd name="connsiteX0" fmla="*/ 0 w 3890192"/>
                  <a:gd name="connsiteY0" fmla="*/ 0 h 999022"/>
                  <a:gd name="connsiteX1" fmla="*/ 3890192 w 3890192"/>
                  <a:gd name="connsiteY1" fmla="*/ 0 h 999022"/>
                  <a:gd name="connsiteX2" fmla="*/ 3890192 w 3890192"/>
                  <a:gd name="connsiteY2" fmla="*/ 999022 h 999022"/>
                  <a:gd name="connsiteX3" fmla="*/ 0 w 3890192"/>
                  <a:gd name="connsiteY3" fmla="*/ 999022 h 999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0192" h="999022">
                    <a:moveTo>
                      <a:pt x="0" y="0"/>
                    </a:moveTo>
                    <a:lnTo>
                      <a:pt x="3890192" y="0"/>
                    </a:lnTo>
                    <a:lnTo>
                      <a:pt x="3890192" y="999022"/>
                    </a:lnTo>
                    <a:lnTo>
                      <a:pt x="0" y="999022"/>
                    </a:lnTo>
                    <a:close/>
                  </a:path>
                </a:pathLst>
              </a:custGeom>
              <a:solidFill>
                <a:srgbClr val="E5007D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2" name="Vrije vorm: vorm 101">
                <a:extLst>
                  <a:ext uri="{FF2B5EF4-FFF2-40B4-BE49-F238E27FC236}">
                    <a16:creationId xmlns:a16="http://schemas.microsoft.com/office/drawing/2014/main" id="{0FC61FF3-7A51-4A68-B99E-4D579A78B6E3}"/>
                  </a:ext>
                </a:extLst>
              </p:cNvPr>
              <p:cNvSpPr/>
              <p:nvPr/>
            </p:nvSpPr>
            <p:spPr>
              <a:xfrm>
                <a:off x="7350986" y="3164516"/>
                <a:ext cx="1781858" cy="887825"/>
              </a:xfrm>
              <a:custGeom>
                <a:avLst/>
                <a:gdLst>
                  <a:gd name="connsiteX0" fmla="*/ 0 w 758858"/>
                  <a:gd name="connsiteY0" fmla="*/ 0 h 381214"/>
                  <a:gd name="connsiteX1" fmla="*/ 755277 w 758858"/>
                  <a:gd name="connsiteY1" fmla="*/ 0 h 381214"/>
                  <a:gd name="connsiteX2" fmla="*/ 758858 w 758858"/>
                  <a:gd name="connsiteY2" fmla="*/ 3581 h 381214"/>
                  <a:gd name="connsiteX3" fmla="*/ 381225 w 758858"/>
                  <a:gd name="connsiteY3" fmla="*/ 381214 h 381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8858" h="381214">
                    <a:moveTo>
                      <a:pt x="0" y="0"/>
                    </a:moveTo>
                    <a:lnTo>
                      <a:pt x="755277" y="0"/>
                    </a:lnTo>
                    <a:lnTo>
                      <a:pt x="758858" y="3581"/>
                    </a:lnTo>
                    <a:lnTo>
                      <a:pt x="381225" y="381214"/>
                    </a:lnTo>
                    <a:close/>
                  </a:path>
                </a:pathLst>
              </a:custGeom>
              <a:solidFill>
                <a:srgbClr val="BF027F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3" name="Graphic 6">
                <a:extLst>
                  <a:ext uri="{FF2B5EF4-FFF2-40B4-BE49-F238E27FC236}">
                    <a16:creationId xmlns:a16="http://schemas.microsoft.com/office/drawing/2014/main" id="{999A557C-F10B-410E-823A-F4D0F2159B3A}"/>
                  </a:ext>
                </a:extLst>
              </p:cNvPr>
              <p:cNvSpPr/>
              <p:nvPr/>
            </p:nvSpPr>
            <p:spPr>
              <a:xfrm>
                <a:off x="8238931" y="3163312"/>
                <a:ext cx="1773431" cy="890232"/>
              </a:xfrm>
              <a:custGeom>
                <a:avLst/>
                <a:gdLst>
                  <a:gd name="connsiteX0" fmla="*/ 0 w 368433"/>
                  <a:gd name="connsiteY0" fmla="*/ 184217 h 184233"/>
                  <a:gd name="connsiteX1" fmla="*/ 368434 w 368433"/>
                  <a:gd name="connsiteY1" fmla="*/ 184234 h 184233"/>
                  <a:gd name="connsiteX2" fmla="*/ 184217 w 368433"/>
                  <a:gd name="connsiteY2" fmla="*/ 0 h 184233"/>
                  <a:gd name="connsiteX3" fmla="*/ 0 w 368433"/>
                  <a:gd name="connsiteY3" fmla="*/ 184217 h 184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433" h="184233">
                    <a:moveTo>
                      <a:pt x="0" y="184217"/>
                    </a:moveTo>
                    <a:lnTo>
                      <a:pt x="368434" y="184234"/>
                    </a:lnTo>
                    <a:lnTo>
                      <a:pt x="184217" y="0"/>
                    </a:lnTo>
                    <a:lnTo>
                      <a:pt x="0" y="184217"/>
                    </a:lnTo>
                    <a:close/>
                  </a:path>
                </a:pathLst>
              </a:custGeom>
              <a:solidFill>
                <a:srgbClr val="A71380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5" name="Groep 4">
              <a:extLst>
                <a:ext uri="{FF2B5EF4-FFF2-40B4-BE49-F238E27FC236}">
                  <a16:creationId xmlns:a16="http://schemas.microsoft.com/office/drawing/2014/main" id="{63D0F653-81D1-47C7-BF75-390D762811DF}"/>
                </a:ext>
              </a:extLst>
            </p:cNvPr>
            <p:cNvGrpSpPr/>
            <p:nvPr userDrawn="1"/>
          </p:nvGrpSpPr>
          <p:grpSpPr>
            <a:xfrm>
              <a:off x="281765" y="4054102"/>
              <a:ext cx="9730597" cy="890232"/>
              <a:chOff x="281765" y="4054102"/>
              <a:chExt cx="9730597" cy="890232"/>
            </a:xfrm>
          </p:grpSpPr>
          <p:sp>
            <p:nvSpPr>
              <p:cNvPr id="99" name="Vrije vorm: vorm 98">
                <a:extLst>
                  <a:ext uri="{FF2B5EF4-FFF2-40B4-BE49-F238E27FC236}">
                    <a16:creationId xmlns:a16="http://schemas.microsoft.com/office/drawing/2014/main" id="{2D7FDBBD-0CEA-4B3F-87AF-F9D78ADCD7B3}"/>
                  </a:ext>
                </a:extLst>
              </p:cNvPr>
              <p:cNvSpPr/>
              <p:nvPr/>
            </p:nvSpPr>
            <p:spPr>
              <a:xfrm>
                <a:off x="281765" y="4055431"/>
                <a:ext cx="9730590" cy="887574"/>
              </a:xfrm>
              <a:custGeom>
                <a:avLst/>
                <a:gdLst>
                  <a:gd name="connsiteX0" fmla="*/ 0 w 3890193"/>
                  <a:gd name="connsiteY0" fmla="*/ 0 h 998237"/>
                  <a:gd name="connsiteX1" fmla="*/ 3890193 w 3890193"/>
                  <a:gd name="connsiteY1" fmla="*/ 0 h 998237"/>
                  <a:gd name="connsiteX2" fmla="*/ 3890193 w 3890193"/>
                  <a:gd name="connsiteY2" fmla="*/ 998237 h 998237"/>
                  <a:gd name="connsiteX3" fmla="*/ 0 w 3890193"/>
                  <a:gd name="connsiteY3" fmla="*/ 998237 h 998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0193" h="998237">
                    <a:moveTo>
                      <a:pt x="0" y="0"/>
                    </a:moveTo>
                    <a:lnTo>
                      <a:pt x="3890193" y="0"/>
                    </a:lnTo>
                    <a:lnTo>
                      <a:pt x="3890193" y="998237"/>
                    </a:lnTo>
                    <a:lnTo>
                      <a:pt x="0" y="998237"/>
                    </a:lnTo>
                    <a:close/>
                  </a:path>
                </a:pathLst>
              </a:custGeom>
              <a:solidFill>
                <a:schemeClr val="accent2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1" name="Vrije vorm: vorm 100">
                <a:extLst>
                  <a:ext uri="{FF2B5EF4-FFF2-40B4-BE49-F238E27FC236}">
                    <a16:creationId xmlns:a16="http://schemas.microsoft.com/office/drawing/2014/main" id="{0DCB2CFC-88A6-4057-82D3-F9E5ABB83640}"/>
                  </a:ext>
                </a:extLst>
              </p:cNvPr>
              <p:cNvSpPr/>
              <p:nvPr/>
            </p:nvSpPr>
            <p:spPr>
              <a:xfrm>
                <a:off x="7355192" y="4054102"/>
                <a:ext cx="1773445" cy="890232"/>
              </a:xfrm>
              <a:custGeom>
                <a:avLst/>
                <a:gdLst>
                  <a:gd name="connsiteX0" fmla="*/ 377643 w 755275"/>
                  <a:gd name="connsiteY0" fmla="*/ 0 h 377632"/>
                  <a:gd name="connsiteX1" fmla="*/ 755275 w 755275"/>
                  <a:gd name="connsiteY1" fmla="*/ 377632 h 377632"/>
                  <a:gd name="connsiteX2" fmla="*/ 0 w 755275"/>
                  <a:gd name="connsiteY2" fmla="*/ 377632 h 37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5275" h="377632">
                    <a:moveTo>
                      <a:pt x="377643" y="0"/>
                    </a:moveTo>
                    <a:lnTo>
                      <a:pt x="755275" y="377632"/>
                    </a:lnTo>
                    <a:lnTo>
                      <a:pt x="0" y="377632"/>
                    </a:lnTo>
                    <a:close/>
                  </a:path>
                </a:pathLst>
              </a:custGeom>
              <a:solidFill>
                <a:srgbClr val="A7C80C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4" name="Graphic 6">
                <a:extLst>
                  <a:ext uri="{FF2B5EF4-FFF2-40B4-BE49-F238E27FC236}">
                    <a16:creationId xmlns:a16="http://schemas.microsoft.com/office/drawing/2014/main" id="{20ECF69E-B41C-471D-B162-4F9927B126DF}"/>
                  </a:ext>
                </a:extLst>
              </p:cNvPr>
              <p:cNvSpPr/>
              <p:nvPr/>
            </p:nvSpPr>
            <p:spPr>
              <a:xfrm>
                <a:off x="8238931" y="4054102"/>
                <a:ext cx="1773431" cy="890232"/>
              </a:xfrm>
              <a:custGeom>
                <a:avLst/>
                <a:gdLst>
                  <a:gd name="connsiteX0" fmla="*/ 184217 w 368433"/>
                  <a:gd name="connsiteY0" fmla="*/ 184217 h 184216"/>
                  <a:gd name="connsiteX1" fmla="*/ 368434 w 368433"/>
                  <a:gd name="connsiteY1" fmla="*/ 0 h 184216"/>
                  <a:gd name="connsiteX2" fmla="*/ 0 w 368433"/>
                  <a:gd name="connsiteY2" fmla="*/ 0 h 184216"/>
                  <a:gd name="connsiteX3" fmla="*/ 184217 w 368433"/>
                  <a:gd name="connsiteY3" fmla="*/ 184217 h 184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433" h="184216">
                    <a:moveTo>
                      <a:pt x="184217" y="184217"/>
                    </a:moveTo>
                    <a:lnTo>
                      <a:pt x="368434" y="0"/>
                    </a:lnTo>
                    <a:lnTo>
                      <a:pt x="0" y="0"/>
                    </a:lnTo>
                    <a:lnTo>
                      <a:pt x="184217" y="184217"/>
                    </a:lnTo>
                    <a:close/>
                  </a:path>
                </a:pathLst>
              </a:custGeom>
              <a:solidFill>
                <a:srgbClr val="8BBE1F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05" name="GRID" hidden="1">
            <a:extLst>
              <a:ext uri="{FF2B5EF4-FFF2-40B4-BE49-F238E27FC236}">
                <a16:creationId xmlns:a16="http://schemas.microsoft.com/office/drawing/2014/main" id="{7D174604-FE5F-4813-8732-954C528C8290}"/>
              </a:ext>
            </a:extLst>
          </p:cNvPr>
          <p:cNvGrpSpPr/>
          <p:nvPr userDrawn="1"/>
        </p:nvGrpSpPr>
        <p:grpSpPr>
          <a:xfrm>
            <a:off x="-12032" y="0"/>
            <a:ext cx="12204032" cy="6858000"/>
            <a:chOff x="-12032" y="0"/>
            <a:chExt cx="12204032" cy="6858000"/>
          </a:xfrm>
          <a:solidFill>
            <a:schemeClr val="tx1">
              <a:alpha val="20000"/>
            </a:schemeClr>
          </a:solidFill>
        </p:grpSpPr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42A51D21-EADE-4E1A-925C-FB173B9687EA}"/>
                </a:ext>
              </a:extLst>
            </p:cNvPr>
            <p:cNvSpPr/>
            <p:nvPr userDrawn="1"/>
          </p:nvSpPr>
          <p:spPr>
            <a:xfrm>
              <a:off x="0" y="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1E53A6F8-19A1-4DCA-9378-1202A64CC9EE}"/>
                </a:ext>
              </a:extLst>
            </p:cNvPr>
            <p:cNvSpPr/>
            <p:nvPr userDrawn="1"/>
          </p:nvSpPr>
          <p:spPr>
            <a:xfrm>
              <a:off x="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8" name="Rechthoek 107">
              <a:extLst>
                <a:ext uri="{FF2B5EF4-FFF2-40B4-BE49-F238E27FC236}">
                  <a16:creationId xmlns:a16="http://schemas.microsoft.com/office/drawing/2014/main" id="{EF477EAB-3AAB-489A-8B40-2617F00D944B}"/>
                </a:ext>
              </a:extLst>
            </p:cNvPr>
            <p:cNvSpPr/>
            <p:nvPr userDrawn="1"/>
          </p:nvSpPr>
          <p:spPr>
            <a:xfrm>
              <a:off x="1161600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E32858EC-9757-4F87-8E68-2E0A538BFF7A}"/>
                </a:ext>
              </a:extLst>
            </p:cNvPr>
            <p:cNvSpPr/>
            <p:nvPr userDrawn="1"/>
          </p:nvSpPr>
          <p:spPr>
            <a:xfrm>
              <a:off x="0" y="1227241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4A34094A-73F0-47BE-935E-8302DA4E0F6E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1" name="Rechthoek 110">
              <a:extLst>
                <a:ext uri="{FF2B5EF4-FFF2-40B4-BE49-F238E27FC236}">
                  <a16:creationId xmlns:a16="http://schemas.microsoft.com/office/drawing/2014/main" id="{4817BD70-983D-4F15-8C97-FDD7DA7D952A}"/>
                </a:ext>
              </a:extLst>
            </p:cNvPr>
            <p:cNvSpPr/>
            <p:nvPr userDrawn="1"/>
          </p:nvSpPr>
          <p:spPr>
            <a:xfrm>
              <a:off x="-12032" y="562646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0E36A908-5AC8-4999-875F-DA5D76447287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21FED529-B705-48AF-9500-877C1BA0E84C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4" name="Rechthoek 113">
              <a:extLst>
                <a:ext uri="{FF2B5EF4-FFF2-40B4-BE49-F238E27FC236}">
                  <a16:creationId xmlns:a16="http://schemas.microsoft.com/office/drawing/2014/main" id="{E5086412-09CE-4AD8-8F97-0E11DA4F1E25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5" name="Rechthoek 114">
              <a:extLst>
                <a:ext uri="{FF2B5EF4-FFF2-40B4-BE49-F238E27FC236}">
                  <a16:creationId xmlns:a16="http://schemas.microsoft.com/office/drawing/2014/main" id="{770B1A5F-1D9B-4DBD-BF67-9C12233D4C57}"/>
                </a:ext>
              </a:extLst>
            </p:cNvPr>
            <p:cNvSpPr/>
            <p:nvPr userDrawn="1"/>
          </p:nvSpPr>
          <p:spPr>
            <a:xfrm>
              <a:off x="0" y="628200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D8CAB18A-C6CC-485C-9315-45590F672687}"/>
                </a:ext>
              </a:extLst>
            </p:cNvPr>
            <p:cNvSpPr/>
            <p:nvPr userDrawn="1"/>
          </p:nvSpPr>
          <p:spPr>
            <a:xfrm>
              <a:off x="574675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79367060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hthoek 140">
            <a:extLst>
              <a:ext uri="{FF2B5EF4-FFF2-40B4-BE49-F238E27FC236}">
                <a16:creationId xmlns:a16="http://schemas.microsoft.com/office/drawing/2014/main" id="{D9A59AAC-D6C5-423A-8FB1-665E3FFD7B76}"/>
              </a:ext>
            </a:extLst>
          </p:cNvPr>
          <p:cNvSpPr/>
          <p:nvPr userDrawn="1"/>
        </p:nvSpPr>
        <p:spPr>
          <a:xfrm>
            <a:off x="906818" y="1375656"/>
            <a:ext cx="8968701" cy="4501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 err="1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25A37011-CBD0-4F8F-B496-18B7C78861E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220124" y="1674395"/>
            <a:ext cx="8280000" cy="3957148"/>
          </a:xfrm>
        </p:spPr>
        <p:txBody>
          <a:bodyPr vert="horz"/>
          <a:lstStyle/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Leestekst</a:t>
            </a:r>
          </a:p>
          <a:p>
            <a:pPr lvl="4"/>
            <a:r>
              <a:rPr lang="nl-NL" noProof="0" dirty="0"/>
              <a:t>Kop #1</a:t>
            </a:r>
          </a:p>
          <a:p>
            <a:pPr lvl="5"/>
            <a:r>
              <a:rPr lang="nl-NL" noProof="0" dirty="0"/>
              <a:t>Kop #2</a:t>
            </a:r>
          </a:p>
          <a:p>
            <a:pPr lvl="6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Alfabetisch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8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97896DB-E7A9-49E0-AF34-21B27046C6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6F8A1BF-B699-4534-A80A-720BC5152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487162-A539-4EB6-8DDC-DECD6ADD3C4B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55" name="Titel 3">
            <a:extLst>
              <a:ext uri="{FF2B5EF4-FFF2-40B4-BE49-F238E27FC236}">
                <a16:creationId xmlns:a16="http://schemas.microsoft.com/office/drawing/2014/main" id="{532A611B-7BAF-44DA-AA98-290EDAADA4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0124" y="302833"/>
            <a:ext cx="8280000" cy="60045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>
              <a:defRPr lang="nl-NL" sz="2800" b="1" dirty="0">
                <a:solidFill>
                  <a:srgbClr val="635D63"/>
                </a:solidFill>
              </a:defRPr>
            </a:lvl1pPr>
          </a:lstStyle>
          <a:p>
            <a:pPr lvl="0"/>
            <a:r>
              <a:rPr lang="nl-NL" noProof="0" dirty="0"/>
              <a:t>Plaats de titel van de dia hier</a:t>
            </a:r>
            <a:endParaRPr lang="nl-NL" dirty="0"/>
          </a:p>
        </p:txBody>
      </p:sp>
      <p:pic>
        <p:nvPicPr>
          <p:cNvPr id="156" name="Afbeelding 155">
            <a:extLst>
              <a:ext uri="{FF2B5EF4-FFF2-40B4-BE49-F238E27FC236}">
                <a16:creationId xmlns:a16="http://schemas.microsoft.com/office/drawing/2014/main" id="{EE05FEB5-8880-4772-8781-D613115220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44" t="36321" b="35981"/>
          <a:stretch/>
        </p:blipFill>
        <p:spPr>
          <a:xfrm>
            <a:off x="0" y="281580"/>
            <a:ext cx="927938" cy="627125"/>
          </a:xfrm>
          <a:custGeom>
            <a:avLst/>
            <a:gdLst>
              <a:gd name="connsiteX0" fmla="*/ 0 w 927938"/>
              <a:gd name="connsiteY0" fmla="*/ 0 h 627125"/>
              <a:gd name="connsiteX1" fmla="*/ 927938 w 927938"/>
              <a:gd name="connsiteY1" fmla="*/ 0 h 627125"/>
              <a:gd name="connsiteX2" fmla="*/ 927938 w 927938"/>
              <a:gd name="connsiteY2" fmla="*/ 627125 h 627125"/>
              <a:gd name="connsiteX3" fmla="*/ 0 w 927938"/>
              <a:gd name="connsiteY3" fmla="*/ 627125 h 627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7938" h="627125">
                <a:moveTo>
                  <a:pt x="0" y="0"/>
                </a:moveTo>
                <a:lnTo>
                  <a:pt x="927938" y="0"/>
                </a:lnTo>
                <a:lnTo>
                  <a:pt x="927938" y="627125"/>
                </a:lnTo>
                <a:lnTo>
                  <a:pt x="0" y="62712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2144037"/>
      </p:ext>
    </p:extLst>
  </p:cSld>
  <p:clrMapOvr>
    <a:masterClrMapping/>
  </p:clrMapOvr>
  <p:transition spd="slow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Rechthoek 144">
            <a:extLst>
              <a:ext uri="{FF2B5EF4-FFF2-40B4-BE49-F238E27FC236}">
                <a16:creationId xmlns:a16="http://schemas.microsoft.com/office/drawing/2014/main" id="{FB0BC14F-4460-4D74-B53D-8CE70897EB14}"/>
              </a:ext>
            </a:extLst>
          </p:cNvPr>
          <p:cNvSpPr/>
          <p:nvPr userDrawn="1"/>
        </p:nvSpPr>
        <p:spPr>
          <a:xfrm>
            <a:off x="6229002" y="1375656"/>
            <a:ext cx="5662961" cy="45012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 err="1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97896DB-E7A9-49E0-AF34-21B27046C6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6F8A1BF-B699-4534-A80A-720BC5152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487162-A539-4EB6-8DDC-DECD6ADD3C4B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43" name="Rechthoek 142">
            <a:extLst>
              <a:ext uri="{FF2B5EF4-FFF2-40B4-BE49-F238E27FC236}">
                <a16:creationId xmlns:a16="http://schemas.microsoft.com/office/drawing/2014/main" id="{A3A724B8-5219-4F45-84D1-B18A65779146}"/>
              </a:ext>
            </a:extLst>
          </p:cNvPr>
          <p:cNvSpPr/>
          <p:nvPr userDrawn="1"/>
        </p:nvSpPr>
        <p:spPr>
          <a:xfrm>
            <a:off x="287336" y="1375656"/>
            <a:ext cx="5662961" cy="45012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 err="1"/>
          </a:p>
        </p:txBody>
      </p:sp>
      <p:sp>
        <p:nvSpPr>
          <p:cNvPr id="144" name="Tijdelijke aanduiding voor verticale tekst 2">
            <a:extLst>
              <a:ext uri="{FF2B5EF4-FFF2-40B4-BE49-F238E27FC236}">
                <a16:creationId xmlns:a16="http://schemas.microsoft.com/office/drawing/2014/main" id="{02F5D0AB-87BA-4562-BAE1-F9AC57E9DADD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575999" y="1674395"/>
            <a:ext cx="5085447" cy="3913605"/>
          </a:xfrm>
        </p:spPr>
        <p:txBody>
          <a:bodyPr vert="horz"/>
          <a:lstStyle/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Leestekst</a:t>
            </a:r>
          </a:p>
          <a:p>
            <a:pPr lvl="4"/>
            <a:r>
              <a:rPr lang="nl-NL" noProof="0" dirty="0"/>
              <a:t>Kop #1</a:t>
            </a:r>
          </a:p>
          <a:p>
            <a:pPr lvl="5"/>
            <a:r>
              <a:rPr lang="nl-NL" noProof="0" dirty="0"/>
              <a:t>Kop #2</a:t>
            </a:r>
          </a:p>
          <a:p>
            <a:pPr lvl="6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Alfabetisch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8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dirty="0"/>
          </a:p>
        </p:txBody>
      </p:sp>
      <p:sp>
        <p:nvSpPr>
          <p:cNvPr id="146" name="Tijdelijke aanduiding voor verticale tekst 2">
            <a:extLst>
              <a:ext uri="{FF2B5EF4-FFF2-40B4-BE49-F238E27FC236}">
                <a16:creationId xmlns:a16="http://schemas.microsoft.com/office/drawing/2014/main" id="{F0D6F718-94A8-4E65-9ED7-8647798D95E4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6517665" y="1674395"/>
            <a:ext cx="5085447" cy="3913605"/>
          </a:xfrm>
        </p:spPr>
        <p:txBody>
          <a:bodyPr vert="horz"/>
          <a:lstStyle/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Leestekst</a:t>
            </a:r>
          </a:p>
          <a:p>
            <a:pPr lvl="4"/>
            <a:r>
              <a:rPr lang="nl-NL" noProof="0" dirty="0"/>
              <a:t>Kop #1</a:t>
            </a:r>
          </a:p>
          <a:p>
            <a:pPr lvl="5"/>
            <a:r>
              <a:rPr lang="nl-NL" noProof="0" dirty="0"/>
              <a:t>Kop #2</a:t>
            </a:r>
          </a:p>
          <a:p>
            <a:pPr lvl="6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Alfabetisch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8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dirty="0"/>
          </a:p>
        </p:txBody>
      </p:sp>
      <p:sp>
        <p:nvSpPr>
          <p:cNvPr id="141" name="Titel 3">
            <a:extLst>
              <a:ext uri="{FF2B5EF4-FFF2-40B4-BE49-F238E27FC236}">
                <a16:creationId xmlns:a16="http://schemas.microsoft.com/office/drawing/2014/main" id="{ABCB387B-8795-407B-AA0A-6A9A0513A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0124" y="302833"/>
            <a:ext cx="8280000" cy="60045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>
              <a:defRPr lang="nl-NL" sz="2800" b="1" dirty="0">
                <a:solidFill>
                  <a:srgbClr val="635D63"/>
                </a:solidFill>
              </a:defRPr>
            </a:lvl1pPr>
          </a:lstStyle>
          <a:p>
            <a:pPr lvl="0"/>
            <a:r>
              <a:rPr lang="nl-NL" noProof="0" dirty="0"/>
              <a:t>Plaats de titel van de dia hier</a:t>
            </a:r>
            <a:endParaRPr lang="nl-NL" dirty="0"/>
          </a:p>
        </p:txBody>
      </p:sp>
      <p:pic>
        <p:nvPicPr>
          <p:cNvPr id="142" name="Afbeelding 141">
            <a:extLst>
              <a:ext uri="{FF2B5EF4-FFF2-40B4-BE49-F238E27FC236}">
                <a16:creationId xmlns:a16="http://schemas.microsoft.com/office/drawing/2014/main" id="{CD89F28C-A920-4754-88B4-4AB5832EB2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44" t="36321" b="35981"/>
          <a:stretch/>
        </p:blipFill>
        <p:spPr>
          <a:xfrm>
            <a:off x="0" y="281580"/>
            <a:ext cx="927938" cy="627125"/>
          </a:xfrm>
          <a:custGeom>
            <a:avLst/>
            <a:gdLst>
              <a:gd name="connsiteX0" fmla="*/ 0 w 927938"/>
              <a:gd name="connsiteY0" fmla="*/ 0 h 627125"/>
              <a:gd name="connsiteX1" fmla="*/ 927938 w 927938"/>
              <a:gd name="connsiteY1" fmla="*/ 0 h 627125"/>
              <a:gd name="connsiteX2" fmla="*/ 927938 w 927938"/>
              <a:gd name="connsiteY2" fmla="*/ 627125 h 627125"/>
              <a:gd name="connsiteX3" fmla="*/ 0 w 927938"/>
              <a:gd name="connsiteY3" fmla="*/ 627125 h 627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7938" h="627125">
                <a:moveTo>
                  <a:pt x="0" y="0"/>
                </a:moveTo>
                <a:lnTo>
                  <a:pt x="927938" y="0"/>
                </a:lnTo>
                <a:lnTo>
                  <a:pt x="927938" y="627125"/>
                </a:lnTo>
                <a:lnTo>
                  <a:pt x="0" y="62712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5713631"/>
      </p:ext>
    </p:extLst>
  </p:cSld>
  <p:clrMapOvr>
    <a:masterClrMapping/>
  </p:clrMapOvr>
  <p:transition spd="slow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Tijdelijke aanduiding voor afbeelding 32">
            <a:extLst>
              <a:ext uri="{FF2B5EF4-FFF2-40B4-BE49-F238E27FC236}">
                <a16:creationId xmlns:a16="http://schemas.microsoft.com/office/drawing/2014/main" id="{F1B4F3D3-1D10-49C6-9D01-FBBD37BB74D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30706" y="1375655"/>
            <a:ext cx="5661257" cy="4501271"/>
          </a:xfrm>
          <a:custGeom>
            <a:avLst/>
            <a:gdLst>
              <a:gd name="connsiteX0" fmla="*/ 0 w 5251324"/>
              <a:gd name="connsiteY0" fmla="*/ 0 h 6282663"/>
              <a:gd name="connsiteX1" fmla="*/ 5251324 w 5251324"/>
              <a:gd name="connsiteY1" fmla="*/ 0 h 6282663"/>
              <a:gd name="connsiteX2" fmla="*/ 5251324 w 5251324"/>
              <a:gd name="connsiteY2" fmla="*/ 6282663 h 6282663"/>
              <a:gd name="connsiteX3" fmla="*/ 0 w 5251324"/>
              <a:gd name="connsiteY3" fmla="*/ 6282663 h 6282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51324" h="6282663">
                <a:moveTo>
                  <a:pt x="0" y="0"/>
                </a:moveTo>
                <a:lnTo>
                  <a:pt x="5251324" y="0"/>
                </a:lnTo>
                <a:lnTo>
                  <a:pt x="5251324" y="6282663"/>
                </a:lnTo>
                <a:lnTo>
                  <a:pt x="0" y="628266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0" bIns="1080000" anchor="ctr" anchorCtr="0">
            <a:noAutofit/>
          </a:bodyPr>
          <a:lstStyle>
            <a:lvl1pPr marL="0" indent="0" algn="ctr">
              <a:buNone/>
              <a:defRPr sz="12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 dirty="0"/>
              <a:t>Klik op onderstaand pictogram om een afbeelding in te voegen</a:t>
            </a:r>
          </a:p>
        </p:txBody>
      </p:sp>
      <p:sp>
        <p:nvSpPr>
          <p:cNvPr id="147" name="Rechthoek 146">
            <a:extLst>
              <a:ext uri="{FF2B5EF4-FFF2-40B4-BE49-F238E27FC236}">
                <a16:creationId xmlns:a16="http://schemas.microsoft.com/office/drawing/2014/main" id="{D71515E9-F4FC-4967-A41A-8D069FD76735}"/>
              </a:ext>
            </a:extLst>
          </p:cNvPr>
          <p:cNvSpPr/>
          <p:nvPr userDrawn="1"/>
        </p:nvSpPr>
        <p:spPr>
          <a:xfrm>
            <a:off x="287336" y="1375656"/>
            <a:ext cx="5662961" cy="45012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 err="1"/>
          </a:p>
        </p:txBody>
      </p:sp>
      <p:sp>
        <p:nvSpPr>
          <p:cNvPr id="148" name="Tijdelijke aanduiding voor verticale tekst 2">
            <a:extLst>
              <a:ext uri="{FF2B5EF4-FFF2-40B4-BE49-F238E27FC236}">
                <a16:creationId xmlns:a16="http://schemas.microsoft.com/office/drawing/2014/main" id="{35B470ED-C702-4711-BFF4-E04322263E9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575999" y="1674395"/>
            <a:ext cx="5085447" cy="3913605"/>
          </a:xfrm>
        </p:spPr>
        <p:txBody>
          <a:bodyPr vert="horz"/>
          <a:lstStyle/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Leestekst</a:t>
            </a:r>
          </a:p>
          <a:p>
            <a:pPr lvl="4"/>
            <a:r>
              <a:rPr lang="nl-NL" noProof="0" dirty="0"/>
              <a:t>Kop #1</a:t>
            </a:r>
          </a:p>
          <a:p>
            <a:pPr lvl="5"/>
            <a:r>
              <a:rPr lang="nl-NL" noProof="0" dirty="0"/>
              <a:t>Kop #2</a:t>
            </a:r>
          </a:p>
          <a:p>
            <a:pPr lvl="6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Alfabetisch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8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dirty="0"/>
          </a:p>
        </p:txBody>
      </p:sp>
      <p:sp>
        <p:nvSpPr>
          <p:cNvPr id="151" name="Titel 3">
            <a:extLst>
              <a:ext uri="{FF2B5EF4-FFF2-40B4-BE49-F238E27FC236}">
                <a16:creationId xmlns:a16="http://schemas.microsoft.com/office/drawing/2014/main" id="{CFC68A8F-0710-40FF-BFCD-C38FBCF43D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0124" y="302833"/>
            <a:ext cx="8280000" cy="60045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>
              <a:defRPr lang="nl-NL" sz="2800" b="1" dirty="0">
                <a:solidFill>
                  <a:srgbClr val="635D63"/>
                </a:solidFill>
              </a:defRPr>
            </a:lvl1pPr>
          </a:lstStyle>
          <a:p>
            <a:pPr lvl="0"/>
            <a:r>
              <a:rPr lang="nl-NL" noProof="0" dirty="0"/>
              <a:t>Plaats de titel van de dia hier</a:t>
            </a:r>
            <a:endParaRPr lang="nl-NL" dirty="0"/>
          </a:p>
        </p:txBody>
      </p:sp>
      <p:pic>
        <p:nvPicPr>
          <p:cNvPr id="152" name="Afbeelding 151">
            <a:extLst>
              <a:ext uri="{FF2B5EF4-FFF2-40B4-BE49-F238E27FC236}">
                <a16:creationId xmlns:a16="http://schemas.microsoft.com/office/drawing/2014/main" id="{6F7569F5-82E7-47F7-884A-7C375C3F57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44" t="36321" b="35981"/>
          <a:stretch/>
        </p:blipFill>
        <p:spPr>
          <a:xfrm>
            <a:off x="0" y="281580"/>
            <a:ext cx="927938" cy="627125"/>
          </a:xfrm>
          <a:custGeom>
            <a:avLst/>
            <a:gdLst>
              <a:gd name="connsiteX0" fmla="*/ 0 w 927938"/>
              <a:gd name="connsiteY0" fmla="*/ 0 h 627125"/>
              <a:gd name="connsiteX1" fmla="*/ 927938 w 927938"/>
              <a:gd name="connsiteY1" fmla="*/ 0 h 627125"/>
              <a:gd name="connsiteX2" fmla="*/ 927938 w 927938"/>
              <a:gd name="connsiteY2" fmla="*/ 627125 h 627125"/>
              <a:gd name="connsiteX3" fmla="*/ 0 w 927938"/>
              <a:gd name="connsiteY3" fmla="*/ 627125 h 627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7938" h="627125">
                <a:moveTo>
                  <a:pt x="0" y="0"/>
                </a:moveTo>
                <a:lnTo>
                  <a:pt x="927938" y="0"/>
                </a:lnTo>
                <a:lnTo>
                  <a:pt x="927938" y="627125"/>
                </a:lnTo>
                <a:lnTo>
                  <a:pt x="0" y="627125"/>
                </a:lnTo>
                <a:close/>
              </a:path>
            </a:pathLst>
          </a:custGeom>
        </p:spPr>
      </p:pic>
      <p:sp>
        <p:nvSpPr>
          <p:cNvPr id="149" name="Tijdelijke aanduiding voor voettekst 4">
            <a:extLst>
              <a:ext uri="{FF2B5EF4-FFF2-40B4-BE49-F238E27FC236}">
                <a16:creationId xmlns:a16="http://schemas.microsoft.com/office/drawing/2014/main" id="{C5BC62AF-7A43-3E4D-9F6B-79053AE04E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4051" y="6656739"/>
            <a:ext cx="4114800" cy="1073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150" name="Tijdelijke aanduiding voor dianummer 5">
            <a:extLst>
              <a:ext uri="{FF2B5EF4-FFF2-40B4-BE49-F238E27FC236}">
                <a16:creationId xmlns:a16="http://schemas.microsoft.com/office/drawing/2014/main" id="{347222F3-FB6A-EC43-B712-9EAD8B9A6E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0553" y="6656739"/>
            <a:ext cx="284597" cy="1073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 b="1">
                <a:solidFill>
                  <a:schemeClr val="accent1"/>
                </a:solidFill>
                <a:latin typeface="+mn-lt"/>
              </a:defRPr>
            </a:lvl1pPr>
          </a:lstStyle>
          <a:p>
            <a:fld id="{D7B5DC5B-6873-43DB-ADC7-B15ACCE0DFDB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36048251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pos="3931" userDrawn="1">
          <p15:clr>
            <a:srgbClr val="FBAE40"/>
          </p15:clr>
        </p15:guide>
        <p15:guide id="2" pos="410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UR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hthoek 140">
            <a:extLst>
              <a:ext uri="{FF2B5EF4-FFF2-40B4-BE49-F238E27FC236}">
                <a16:creationId xmlns:a16="http://schemas.microsoft.com/office/drawing/2014/main" id="{D9A59AAC-D6C5-423A-8FB1-665E3FFD7B76}"/>
              </a:ext>
            </a:extLst>
          </p:cNvPr>
          <p:cNvSpPr/>
          <p:nvPr userDrawn="1"/>
        </p:nvSpPr>
        <p:spPr>
          <a:xfrm>
            <a:off x="6237447" y="1376363"/>
            <a:ext cx="5663148" cy="45005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 err="1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25A37011-CBD0-4F8F-B496-18B7C78861E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530552" y="1675102"/>
            <a:ext cx="5085445" cy="3887457"/>
          </a:xfrm>
        </p:spPr>
        <p:txBody>
          <a:bodyPr vert="horz"/>
          <a:lstStyle>
            <a:lvl1pPr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6pPr>
              <a:defRPr>
                <a:solidFill>
                  <a:schemeClr val="accent3"/>
                </a:solidFill>
              </a:defRPr>
            </a:lvl6pPr>
            <a:lvl7pPr>
              <a:defRPr>
                <a:solidFill>
                  <a:schemeClr val="accent3"/>
                </a:solidFill>
              </a:defRPr>
            </a:lvl7pPr>
            <a:lvl8pPr>
              <a:defRPr>
                <a:solidFill>
                  <a:schemeClr val="accent3"/>
                </a:solidFill>
              </a:defRPr>
            </a:lvl8pPr>
            <a:lvl9pPr>
              <a:defRPr>
                <a:solidFill>
                  <a:schemeClr val="accent3"/>
                </a:solidFill>
              </a:defRPr>
            </a:lvl9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Leestekst</a:t>
            </a:r>
          </a:p>
          <a:p>
            <a:pPr lvl="4"/>
            <a:r>
              <a:rPr lang="nl-NL" noProof="0" dirty="0"/>
              <a:t>Kop #1</a:t>
            </a:r>
          </a:p>
          <a:p>
            <a:pPr lvl="5"/>
            <a:r>
              <a:rPr lang="nl-NL" noProof="0" dirty="0"/>
              <a:t>Kop #2</a:t>
            </a:r>
          </a:p>
          <a:p>
            <a:pPr lvl="6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Alfabetisch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8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97896DB-E7A9-49E0-AF34-21B27046C6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6F8A1BF-B699-4534-A80A-720BC5152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487162-A539-4EB6-8DDC-DECD6ADD3C4B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86" name="Titel 3">
            <a:extLst>
              <a:ext uri="{FF2B5EF4-FFF2-40B4-BE49-F238E27FC236}">
                <a16:creationId xmlns:a16="http://schemas.microsoft.com/office/drawing/2014/main" id="{BCF43111-3290-4B04-BAC2-651E187C92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0124" y="302833"/>
            <a:ext cx="8280000" cy="60045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>
              <a:defRPr lang="nl-NL" sz="2800" b="1" dirty="0">
                <a:solidFill>
                  <a:srgbClr val="635D63"/>
                </a:solidFill>
              </a:defRPr>
            </a:lvl1pPr>
          </a:lstStyle>
          <a:p>
            <a:pPr lvl="0"/>
            <a:r>
              <a:rPr lang="nl-NL" noProof="0" dirty="0"/>
              <a:t>Plaats de titel van de dia hier</a:t>
            </a:r>
            <a:endParaRPr lang="nl-NL" dirty="0"/>
          </a:p>
        </p:txBody>
      </p:sp>
      <p:pic>
        <p:nvPicPr>
          <p:cNvPr id="87" name="Afbeelding 86">
            <a:extLst>
              <a:ext uri="{FF2B5EF4-FFF2-40B4-BE49-F238E27FC236}">
                <a16:creationId xmlns:a16="http://schemas.microsoft.com/office/drawing/2014/main" id="{204085D7-EF89-4B5F-83E1-ACEE66735C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44" t="36321" b="35981"/>
          <a:stretch/>
        </p:blipFill>
        <p:spPr>
          <a:xfrm>
            <a:off x="0" y="281580"/>
            <a:ext cx="927938" cy="627125"/>
          </a:xfrm>
          <a:custGeom>
            <a:avLst/>
            <a:gdLst>
              <a:gd name="connsiteX0" fmla="*/ 0 w 927938"/>
              <a:gd name="connsiteY0" fmla="*/ 0 h 627125"/>
              <a:gd name="connsiteX1" fmla="*/ 927938 w 927938"/>
              <a:gd name="connsiteY1" fmla="*/ 0 h 627125"/>
              <a:gd name="connsiteX2" fmla="*/ 927938 w 927938"/>
              <a:gd name="connsiteY2" fmla="*/ 627125 h 627125"/>
              <a:gd name="connsiteX3" fmla="*/ 0 w 927938"/>
              <a:gd name="connsiteY3" fmla="*/ 627125 h 627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7938" h="627125">
                <a:moveTo>
                  <a:pt x="0" y="0"/>
                </a:moveTo>
                <a:lnTo>
                  <a:pt x="927938" y="0"/>
                </a:lnTo>
                <a:lnTo>
                  <a:pt x="927938" y="627125"/>
                </a:lnTo>
                <a:lnTo>
                  <a:pt x="0" y="62712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81818874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pos="3931" userDrawn="1">
          <p15:clr>
            <a:srgbClr val="FBAE40"/>
          </p15:clr>
        </p15:guide>
        <p15:guide id="2" pos="410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ID" hidden="1">
            <a:extLst>
              <a:ext uri="{FF2B5EF4-FFF2-40B4-BE49-F238E27FC236}">
                <a16:creationId xmlns:a16="http://schemas.microsoft.com/office/drawing/2014/main" id="{F319575D-1BE1-4CB3-B193-D94E8A4B8396}"/>
              </a:ext>
            </a:extLst>
          </p:cNvPr>
          <p:cNvGrpSpPr/>
          <p:nvPr userDrawn="1"/>
        </p:nvGrpSpPr>
        <p:grpSpPr>
          <a:xfrm>
            <a:off x="-12032" y="-282911"/>
            <a:ext cx="12204032" cy="7140911"/>
            <a:chOff x="-12032" y="-282911"/>
            <a:chExt cx="12204032" cy="7140911"/>
          </a:xfrm>
          <a:solidFill>
            <a:schemeClr val="tx1">
              <a:alpha val="20000"/>
            </a:schemeClr>
          </a:solidFill>
        </p:grpSpPr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7C649C24-162B-490D-8309-BD7F6EE15027}"/>
                </a:ext>
              </a:extLst>
            </p:cNvPr>
            <p:cNvSpPr/>
            <p:nvPr userDrawn="1"/>
          </p:nvSpPr>
          <p:spPr>
            <a:xfrm>
              <a:off x="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445FCC4D-302E-4BB9-927E-5C2398704AFC}"/>
                </a:ext>
              </a:extLst>
            </p:cNvPr>
            <p:cNvSpPr/>
            <p:nvPr userDrawn="1"/>
          </p:nvSpPr>
          <p:spPr>
            <a:xfrm>
              <a:off x="1147200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0" name="Rechthoek 19">
              <a:extLst>
                <a:ext uri="{FF2B5EF4-FFF2-40B4-BE49-F238E27FC236}">
                  <a16:creationId xmlns:a16="http://schemas.microsoft.com/office/drawing/2014/main" id="{1923E5DD-D56D-4CFB-A6A6-87D109588BB5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9B0E07BB-1FFD-4488-B5AB-558B1FF16B4E}"/>
                </a:ext>
              </a:extLst>
            </p:cNvPr>
            <p:cNvSpPr/>
            <p:nvPr userDrawn="1"/>
          </p:nvSpPr>
          <p:spPr>
            <a:xfrm>
              <a:off x="-12032" y="588015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E9B85FCB-6306-4E69-91B3-71D72DB96105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3F0BAFD4-6239-4D39-93E5-82E9E854540E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307091EB-1C56-4470-9F6C-E9F091A2EAD4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2C450DB-83CF-4EEC-926D-36621FBB62EF}"/>
                </a:ext>
              </a:extLst>
            </p:cNvPr>
            <p:cNvSpPr/>
            <p:nvPr userDrawn="1"/>
          </p:nvSpPr>
          <p:spPr>
            <a:xfrm>
              <a:off x="0" y="1063256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7" name="Rechthoek 26">
              <a:extLst>
                <a:ext uri="{FF2B5EF4-FFF2-40B4-BE49-F238E27FC236}">
                  <a16:creationId xmlns:a16="http://schemas.microsoft.com/office/drawing/2014/main" id="{377F1DB8-82CD-4686-BCE7-96BB962F0D09}"/>
                </a:ext>
              </a:extLst>
            </p:cNvPr>
            <p:cNvSpPr/>
            <p:nvPr userDrawn="1"/>
          </p:nvSpPr>
          <p:spPr>
            <a:xfrm rot="2700000">
              <a:off x="8741900" y="625281"/>
              <a:ext cx="2104384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grpSp>
        <p:nvGrpSpPr>
          <p:cNvPr id="6" name="DYNAMIC DEVICE" hidden="1">
            <a:extLst>
              <a:ext uri="{FF2B5EF4-FFF2-40B4-BE49-F238E27FC236}">
                <a16:creationId xmlns:a16="http://schemas.microsoft.com/office/drawing/2014/main" id="{B5286F1F-477A-4BE1-86FA-A1C138E1195C}"/>
              </a:ext>
            </a:extLst>
          </p:cNvPr>
          <p:cNvGrpSpPr/>
          <p:nvPr userDrawn="1"/>
        </p:nvGrpSpPr>
        <p:grpSpPr>
          <a:xfrm>
            <a:off x="281765" y="3163312"/>
            <a:ext cx="9730597" cy="1781022"/>
            <a:chOff x="281765" y="3163312"/>
            <a:chExt cx="9730597" cy="1781022"/>
          </a:xfrm>
        </p:grpSpPr>
        <p:grpSp>
          <p:nvGrpSpPr>
            <p:cNvPr id="2" name="Groep 1">
              <a:extLst>
                <a:ext uri="{FF2B5EF4-FFF2-40B4-BE49-F238E27FC236}">
                  <a16:creationId xmlns:a16="http://schemas.microsoft.com/office/drawing/2014/main" id="{FFFCDC1A-E77C-4645-AA40-37FAF279D15C}"/>
                </a:ext>
              </a:extLst>
            </p:cNvPr>
            <p:cNvGrpSpPr/>
            <p:nvPr userDrawn="1"/>
          </p:nvGrpSpPr>
          <p:grpSpPr>
            <a:xfrm>
              <a:off x="281765" y="3163312"/>
              <a:ext cx="9730597" cy="890232"/>
              <a:chOff x="281765" y="3163312"/>
              <a:chExt cx="9730597" cy="890232"/>
            </a:xfrm>
          </p:grpSpPr>
          <p:sp>
            <p:nvSpPr>
              <p:cNvPr id="98" name="Vrije vorm: vorm 97">
                <a:extLst>
                  <a:ext uri="{FF2B5EF4-FFF2-40B4-BE49-F238E27FC236}">
                    <a16:creationId xmlns:a16="http://schemas.microsoft.com/office/drawing/2014/main" id="{FB5C508C-270E-4884-BA6D-F33265BFDF73}"/>
                  </a:ext>
                </a:extLst>
              </p:cNvPr>
              <p:cNvSpPr/>
              <p:nvPr/>
            </p:nvSpPr>
            <p:spPr>
              <a:xfrm>
                <a:off x="281765" y="3163828"/>
                <a:ext cx="9730590" cy="889200"/>
              </a:xfrm>
              <a:custGeom>
                <a:avLst/>
                <a:gdLst>
                  <a:gd name="connsiteX0" fmla="*/ 0 w 3890192"/>
                  <a:gd name="connsiteY0" fmla="*/ 0 h 999022"/>
                  <a:gd name="connsiteX1" fmla="*/ 3890192 w 3890192"/>
                  <a:gd name="connsiteY1" fmla="*/ 0 h 999022"/>
                  <a:gd name="connsiteX2" fmla="*/ 3890192 w 3890192"/>
                  <a:gd name="connsiteY2" fmla="*/ 999022 h 999022"/>
                  <a:gd name="connsiteX3" fmla="*/ 0 w 3890192"/>
                  <a:gd name="connsiteY3" fmla="*/ 999022 h 999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0192" h="999022">
                    <a:moveTo>
                      <a:pt x="0" y="0"/>
                    </a:moveTo>
                    <a:lnTo>
                      <a:pt x="3890192" y="0"/>
                    </a:lnTo>
                    <a:lnTo>
                      <a:pt x="3890192" y="999022"/>
                    </a:lnTo>
                    <a:lnTo>
                      <a:pt x="0" y="999022"/>
                    </a:lnTo>
                    <a:close/>
                  </a:path>
                </a:pathLst>
              </a:custGeom>
              <a:solidFill>
                <a:srgbClr val="E5007D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2" name="Vrije vorm: vorm 101">
                <a:extLst>
                  <a:ext uri="{FF2B5EF4-FFF2-40B4-BE49-F238E27FC236}">
                    <a16:creationId xmlns:a16="http://schemas.microsoft.com/office/drawing/2014/main" id="{0FC61FF3-7A51-4A68-B99E-4D579A78B6E3}"/>
                  </a:ext>
                </a:extLst>
              </p:cNvPr>
              <p:cNvSpPr/>
              <p:nvPr/>
            </p:nvSpPr>
            <p:spPr>
              <a:xfrm>
                <a:off x="7350986" y="3164516"/>
                <a:ext cx="1781858" cy="887825"/>
              </a:xfrm>
              <a:custGeom>
                <a:avLst/>
                <a:gdLst>
                  <a:gd name="connsiteX0" fmla="*/ 0 w 758858"/>
                  <a:gd name="connsiteY0" fmla="*/ 0 h 381214"/>
                  <a:gd name="connsiteX1" fmla="*/ 755277 w 758858"/>
                  <a:gd name="connsiteY1" fmla="*/ 0 h 381214"/>
                  <a:gd name="connsiteX2" fmla="*/ 758858 w 758858"/>
                  <a:gd name="connsiteY2" fmla="*/ 3581 h 381214"/>
                  <a:gd name="connsiteX3" fmla="*/ 381225 w 758858"/>
                  <a:gd name="connsiteY3" fmla="*/ 381214 h 381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8858" h="381214">
                    <a:moveTo>
                      <a:pt x="0" y="0"/>
                    </a:moveTo>
                    <a:lnTo>
                      <a:pt x="755277" y="0"/>
                    </a:lnTo>
                    <a:lnTo>
                      <a:pt x="758858" y="3581"/>
                    </a:lnTo>
                    <a:lnTo>
                      <a:pt x="381225" y="381214"/>
                    </a:lnTo>
                    <a:close/>
                  </a:path>
                </a:pathLst>
              </a:custGeom>
              <a:solidFill>
                <a:srgbClr val="BF027F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3" name="Graphic 6">
                <a:extLst>
                  <a:ext uri="{FF2B5EF4-FFF2-40B4-BE49-F238E27FC236}">
                    <a16:creationId xmlns:a16="http://schemas.microsoft.com/office/drawing/2014/main" id="{999A557C-F10B-410E-823A-F4D0F2159B3A}"/>
                  </a:ext>
                </a:extLst>
              </p:cNvPr>
              <p:cNvSpPr/>
              <p:nvPr/>
            </p:nvSpPr>
            <p:spPr>
              <a:xfrm>
                <a:off x="8238931" y="3163312"/>
                <a:ext cx="1773431" cy="890232"/>
              </a:xfrm>
              <a:custGeom>
                <a:avLst/>
                <a:gdLst>
                  <a:gd name="connsiteX0" fmla="*/ 0 w 368433"/>
                  <a:gd name="connsiteY0" fmla="*/ 184217 h 184233"/>
                  <a:gd name="connsiteX1" fmla="*/ 368434 w 368433"/>
                  <a:gd name="connsiteY1" fmla="*/ 184234 h 184233"/>
                  <a:gd name="connsiteX2" fmla="*/ 184217 w 368433"/>
                  <a:gd name="connsiteY2" fmla="*/ 0 h 184233"/>
                  <a:gd name="connsiteX3" fmla="*/ 0 w 368433"/>
                  <a:gd name="connsiteY3" fmla="*/ 184217 h 184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433" h="184233">
                    <a:moveTo>
                      <a:pt x="0" y="184217"/>
                    </a:moveTo>
                    <a:lnTo>
                      <a:pt x="368434" y="184234"/>
                    </a:lnTo>
                    <a:lnTo>
                      <a:pt x="184217" y="0"/>
                    </a:lnTo>
                    <a:lnTo>
                      <a:pt x="0" y="184217"/>
                    </a:lnTo>
                    <a:close/>
                  </a:path>
                </a:pathLst>
              </a:custGeom>
              <a:solidFill>
                <a:srgbClr val="A71380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5" name="Groep 4">
              <a:extLst>
                <a:ext uri="{FF2B5EF4-FFF2-40B4-BE49-F238E27FC236}">
                  <a16:creationId xmlns:a16="http://schemas.microsoft.com/office/drawing/2014/main" id="{63D0F653-81D1-47C7-BF75-390D762811DF}"/>
                </a:ext>
              </a:extLst>
            </p:cNvPr>
            <p:cNvGrpSpPr/>
            <p:nvPr userDrawn="1"/>
          </p:nvGrpSpPr>
          <p:grpSpPr>
            <a:xfrm>
              <a:off x="281765" y="4054102"/>
              <a:ext cx="9730597" cy="890232"/>
              <a:chOff x="281765" y="4054102"/>
              <a:chExt cx="9730597" cy="890232"/>
            </a:xfrm>
          </p:grpSpPr>
          <p:sp>
            <p:nvSpPr>
              <p:cNvPr id="99" name="Vrije vorm: vorm 98">
                <a:extLst>
                  <a:ext uri="{FF2B5EF4-FFF2-40B4-BE49-F238E27FC236}">
                    <a16:creationId xmlns:a16="http://schemas.microsoft.com/office/drawing/2014/main" id="{2D7FDBBD-0CEA-4B3F-87AF-F9D78ADCD7B3}"/>
                  </a:ext>
                </a:extLst>
              </p:cNvPr>
              <p:cNvSpPr/>
              <p:nvPr/>
            </p:nvSpPr>
            <p:spPr>
              <a:xfrm>
                <a:off x="281765" y="4055431"/>
                <a:ext cx="9730590" cy="887574"/>
              </a:xfrm>
              <a:custGeom>
                <a:avLst/>
                <a:gdLst>
                  <a:gd name="connsiteX0" fmla="*/ 0 w 3890193"/>
                  <a:gd name="connsiteY0" fmla="*/ 0 h 998237"/>
                  <a:gd name="connsiteX1" fmla="*/ 3890193 w 3890193"/>
                  <a:gd name="connsiteY1" fmla="*/ 0 h 998237"/>
                  <a:gd name="connsiteX2" fmla="*/ 3890193 w 3890193"/>
                  <a:gd name="connsiteY2" fmla="*/ 998237 h 998237"/>
                  <a:gd name="connsiteX3" fmla="*/ 0 w 3890193"/>
                  <a:gd name="connsiteY3" fmla="*/ 998237 h 998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0193" h="998237">
                    <a:moveTo>
                      <a:pt x="0" y="0"/>
                    </a:moveTo>
                    <a:lnTo>
                      <a:pt x="3890193" y="0"/>
                    </a:lnTo>
                    <a:lnTo>
                      <a:pt x="3890193" y="998237"/>
                    </a:lnTo>
                    <a:lnTo>
                      <a:pt x="0" y="998237"/>
                    </a:lnTo>
                    <a:close/>
                  </a:path>
                </a:pathLst>
              </a:custGeom>
              <a:solidFill>
                <a:schemeClr val="accent2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1" name="Vrije vorm: vorm 100">
                <a:extLst>
                  <a:ext uri="{FF2B5EF4-FFF2-40B4-BE49-F238E27FC236}">
                    <a16:creationId xmlns:a16="http://schemas.microsoft.com/office/drawing/2014/main" id="{0DCB2CFC-88A6-4057-82D3-F9E5ABB83640}"/>
                  </a:ext>
                </a:extLst>
              </p:cNvPr>
              <p:cNvSpPr/>
              <p:nvPr/>
            </p:nvSpPr>
            <p:spPr>
              <a:xfrm>
                <a:off x="7355192" y="4054102"/>
                <a:ext cx="1773445" cy="890232"/>
              </a:xfrm>
              <a:custGeom>
                <a:avLst/>
                <a:gdLst>
                  <a:gd name="connsiteX0" fmla="*/ 377643 w 755275"/>
                  <a:gd name="connsiteY0" fmla="*/ 0 h 377632"/>
                  <a:gd name="connsiteX1" fmla="*/ 755275 w 755275"/>
                  <a:gd name="connsiteY1" fmla="*/ 377632 h 377632"/>
                  <a:gd name="connsiteX2" fmla="*/ 0 w 755275"/>
                  <a:gd name="connsiteY2" fmla="*/ 377632 h 37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5275" h="377632">
                    <a:moveTo>
                      <a:pt x="377643" y="0"/>
                    </a:moveTo>
                    <a:lnTo>
                      <a:pt x="755275" y="377632"/>
                    </a:lnTo>
                    <a:lnTo>
                      <a:pt x="0" y="377632"/>
                    </a:lnTo>
                    <a:close/>
                  </a:path>
                </a:pathLst>
              </a:custGeom>
              <a:solidFill>
                <a:srgbClr val="A7C80C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4" name="Graphic 6">
                <a:extLst>
                  <a:ext uri="{FF2B5EF4-FFF2-40B4-BE49-F238E27FC236}">
                    <a16:creationId xmlns:a16="http://schemas.microsoft.com/office/drawing/2014/main" id="{20ECF69E-B41C-471D-B162-4F9927B126DF}"/>
                  </a:ext>
                </a:extLst>
              </p:cNvPr>
              <p:cNvSpPr/>
              <p:nvPr/>
            </p:nvSpPr>
            <p:spPr>
              <a:xfrm>
                <a:off x="8238931" y="4054102"/>
                <a:ext cx="1773431" cy="890232"/>
              </a:xfrm>
              <a:custGeom>
                <a:avLst/>
                <a:gdLst>
                  <a:gd name="connsiteX0" fmla="*/ 184217 w 368433"/>
                  <a:gd name="connsiteY0" fmla="*/ 184217 h 184216"/>
                  <a:gd name="connsiteX1" fmla="*/ 368434 w 368433"/>
                  <a:gd name="connsiteY1" fmla="*/ 0 h 184216"/>
                  <a:gd name="connsiteX2" fmla="*/ 0 w 368433"/>
                  <a:gd name="connsiteY2" fmla="*/ 0 h 184216"/>
                  <a:gd name="connsiteX3" fmla="*/ 184217 w 368433"/>
                  <a:gd name="connsiteY3" fmla="*/ 184217 h 184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433" h="184216">
                    <a:moveTo>
                      <a:pt x="184217" y="184217"/>
                    </a:moveTo>
                    <a:lnTo>
                      <a:pt x="368434" y="0"/>
                    </a:lnTo>
                    <a:lnTo>
                      <a:pt x="0" y="0"/>
                    </a:lnTo>
                    <a:lnTo>
                      <a:pt x="184217" y="184217"/>
                    </a:lnTo>
                    <a:close/>
                  </a:path>
                </a:pathLst>
              </a:custGeom>
              <a:solidFill>
                <a:srgbClr val="8BBE1F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05" name="GRID" hidden="1">
            <a:extLst>
              <a:ext uri="{FF2B5EF4-FFF2-40B4-BE49-F238E27FC236}">
                <a16:creationId xmlns:a16="http://schemas.microsoft.com/office/drawing/2014/main" id="{7D174604-FE5F-4813-8732-954C528C8290}"/>
              </a:ext>
            </a:extLst>
          </p:cNvPr>
          <p:cNvGrpSpPr/>
          <p:nvPr userDrawn="1"/>
        </p:nvGrpSpPr>
        <p:grpSpPr>
          <a:xfrm>
            <a:off x="-12032" y="0"/>
            <a:ext cx="12204032" cy="6858000"/>
            <a:chOff x="-12032" y="0"/>
            <a:chExt cx="12204032" cy="6858000"/>
          </a:xfrm>
          <a:solidFill>
            <a:schemeClr val="tx1">
              <a:alpha val="20000"/>
            </a:schemeClr>
          </a:solidFill>
        </p:grpSpPr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42A51D21-EADE-4E1A-925C-FB173B9687EA}"/>
                </a:ext>
              </a:extLst>
            </p:cNvPr>
            <p:cNvSpPr/>
            <p:nvPr userDrawn="1"/>
          </p:nvSpPr>
          <p:spPr>
            <a:xfrm>
              <a:off x="0" y="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1E53A6F8-19A1-4DCA-9378-1202A64CC9EE}"/>
                </a:ext>
              </a:extLst>
            </p:cNvPr>
            <p:cNvSpPr/>
            <p:nvPr userDrawn="1"/>
          </p:nvSpPr>
          <p:spPr>
            <a:xfrm>
              <a:off x="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8" name="Rechthoek 107">
              <a:extLst>
                <a:ext uri="{FF2B5EF4-FFF2-40B4-BE49-F238E27FC236}">
                  <a16:creationId xmlns:a16="http://schemas.microsoft.com/office/drawing/2014/main" id="{EF477EAB-3AAB-489A-8B40-2617F00D944B}"/>
                </a:ext>
              </a:extLst>
            </p:cNvPr>
            <p:cNvSpPr/>
            <p:nvPr userDrawn="1"/>
          </p:nvSpPr>
          <p:spPr>
            <a:xfrm>
              <a:off x="1161600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E32858EC-9757-4F87-8E68-2E0A538BFF7A}"/>
                </a:ext>
              </a:extLst>
            </p:cNvPr>
            <p:cNvSpPr/>
            <p:nvPr userDrawn="1"/>
          </p:nvSpPr>
          <p:spPr>
            <a:xfrm>
              <a:off x="0" y="1227241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4A34094A-73F0-47BE-935E-8302DA4E0F6E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1" name="Rechthoek 110">
              <a:extLst>
                <a:ext uri="{FF2B5EF4-FFF2-40B4-BE49-F238E27FC236}">
                  <a16:creationId xmlns:a16="http://schemas.microsoft.com/office/drawing/2014/main" id="{4817BD70-983D-4F15-8C97-FDD7DA7D952A}"/>
                </a:ext>
              </a:extLst>
            </p:cNvPr>
            <p:cNvSpPr/>
            <p:nvPr userDrawn="1"/>
          </p:nvSpPr>
          <p:spPr>
            <a:xfrm>
              <a:off x="-12032" y="562646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0E36A908-5AC8-4999-875F-DA5D76447287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21FED529-B705-48AF-9500-877C1BA0E84C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4" name="Rechthoek 113">
              <a:extLst>
                <a:ext uri="{FF2B5EF4-FFF2-40B4-BE49-F238E27FC236}">
                  <a16:creationId xmlns:a16="http://schemas.microsoft.com/office/drawing/2014/main" id="{E5086412-09CE-4AD8-8F97-0E11DA4F1E25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5" name="Rechthoek 114">
              <a:extLst>
                <a:ext uri="{FF2B5EF4-FFF2-40B4-BE49-F238E27FC236}">
                  <a16:creationId xmlns:a16="http://schemas.microsoft.com/office/drawing/2014/main" id="{770B1A5F-1D9B-4DBD-BF67-9C12233D4C57}"/>
                </a:ext>
              </a:extLst>
            </p:cNvPr>
            <p:cNvSpPr/>
            <p:nvPr userDrawn="1"/>
          </p:nvSpPr>
          <p:spPr>
            <a:xfrm>
              <a:off x="0" y="628200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D8CAB18A-C6CC-485C-9315-45590F672687}"/>
                </a:ext>
              </a:extLst>
            </p:cNvPr>
            <p:cNvSpPr/>
            <p:nvPr userDrawn="1"/>
          </p:nvSpPr>
          <p:spPr>
            <a:xfrm>
              <a:off x="574675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sp>
        <p:nvSpPr>
          <p:cNvPr id="116" name="Tijdelijke aanduiding voor voettekst 4">
            <a:extLst>
              <a:ext uri="{FF2B5EF4-FFF2-40B4-BE49-F238E27FC236}">
                <a16:creationId xmlns:a16="http://schemas.microsoft.com/office/drawing/2014/main" id="{ACB02EE3-8571-4C63-BCC9-CDD93ABD09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4051" y="6168759"/>
            <a:ext cx="4114800" cy="1073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118" name="Tijdelijke aanduiding voor dianummer 5">
            <a:extLst>
              <a:ext uri="{FF2B5EF4-FFF2-40B4-BE49-F238E27FC236}">
                <a16:creationId xmlns:a16="http://schemas.microsoft.com/office/drawing/2014/main" id="{4C970E33-AAD3-4E9D-B023-7921EE00C7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0553" y="6168759"/>
            <a:ext cx="284597" cy="1073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 b="1">
                <a:solidFill>
                  <a:schemeClr val="accent1"/>
                </a:solidFill>
                <a:latin typeface="+mn-lt"/>
              </a:defRPr>
            </a:lvl1pPr>
          </a:lstStyle>
          <a:p>
            <a:fld id="{D7B5DC5B-6873-43DB-ADC7-B15ACCE0DFDB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50" name="Titel 3">
            <a:extLst>
              <a:ext uri="{FF2B5EF4-FFF2-40B4-BE49-F238E27FC236}">
                <a16:creationId xmlns:a16="http://schemas.microsoft.com/office/drawing/2014/main" id="{5B0FDC8F-D8C5-4C75-B74D-8AD08107B3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0124" y="302833"/>
            <a:ext cx="8280000" cy="60045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>
              <a:defRPr lang="nl-NL" sz="2800" b="1" dirty="0">
                <a:solidFill>
                  <a:srgbClr val="635D63"/>
                </a:solidFill>
              </a:defRPr>
            </a:lvl1pPr>
          </a:lstStyle>
          <a:p>
            <a:pPr lvl="0"/>
            <a:r>
              <a:rPr lang="nl-NL" noProof="0" dirty="0"/>
              <a:t>Plaats de titel van de dia hier</a:t>
            </a:r>
            <a:endParaRPr lang="nl-NL" dirty="0"/>
          </a:p>
        </p:txBody>
      </p:sp>
      <p:pic>
        <p:nvPicPr>
          <p:cNvPr id="51" name="Afbeelding 50">
            <a:extLst>
              <a:ext uri="{FF2B5EF4-FFF2-40B4-BE49-F238E27FC236}">
                <a16:creationId xmlns:a16="http://schemas.microsoft.com/office/drawing/2014/main" id="{0975D325-7F46-49A9-97CA-23F3280718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44" t="36321" b="35981"/>
          <a:stretch/>
        </p:blipFill>
        <p:spPr>
          <a:xfrm>
            <a:off x="0" y="281580"/>
            <a:ext cx="927938" cy="627125"/>
          </a:xfrm>
          <a:custGeom>
            <a:avLst/>
            <a:gdLst>
              <a:gd name="connsiteX0" fmla="*/ 0 w 927938"/>
              <a:gd name="connsiteY0" fmla="*/ 0 h 627125"/>
              <a:gd name="connsiteX1" fmla="*/ 927938 w 927938"/>
              <a:gd name="connsiteY1" fmla="*/ 0 h 627125"/>
              <a:gd name="connsiteX2" fmla="*/ 927938 w 927938"/>
              <a:gd name="connsiteY2" fmla="*/ 627125 h 627125"/>
              <a:gd name="connsiteX3" fmla="*/ 0 w 927938"/>
              <a:gd name="connsiteY3" fmla="*/ 627125 h 627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7938" h="627125">
                <a:moveTo>
                  <a:pt x="0" y="0"/>
                </a:moveTo>
                <a:lnTo>
                  <a:pt x="927938" y="0"/>
                </a:lnTo>
                <a:lnTo>
                  <a:pt x="927938" y="627125"/>
                </a:lnTo>
                <a:lnTo>
                  <a:pt x="0" y="62712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34992921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hoek 31">
            <a:extLst>
              <a:ext uri="{FF2B5EF4-FFF2-40B4-BE49-F238E27FC236}">
                <a16:creationId xmlns:a16="http://schemas.microsoft.com/office/drawing/2014/main" id="{FB44FA68-46B7-4757-998C-7F2CA7BCB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/>
          </a:p>
        </p:txBody>
      </p:sp>
      <p:sp>
        <p:nvSpPr>
          <p:cNvPr id="136" name="Tijdelijke aanduiding voor afbeelding 135">
            <a:extLst>
              <a:ext uri="{FF2B5EF4-FFF2-40B4-BE49-F238E27FC236}">
                <a16:creationId xmlns:a16="http://schemas.microsoft.com/office/drawing/2014/main" id="{70ABD11C-2D39-460A-9871-6805FF448F5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8000" y="287338"/>
            <a:ext cx="7515592" cy="6278014"/>
          </a:xfrm>
          <a:custGeom>
            <a:avLst/>
            <a:gdLst>
              <a:gd name="connsiteX0" fmla="*/ 0 w 11298386"/>
              <a:gd name="connsiteY0" fmla="*/ 0 h 6286212"/>
              <a:gd name="connsiteX1" fmla="*/ 11298386 w 11298386"/>
              <a:gd name="connsiteY1" fmla="*/ 0 h 6286212"/>
              <a:gd name="connsiteX2" fmla="*/ 11298386 w 11298386"/>
              <a:gd name="connsiteY2" fmla="*/ 6078273 h 6286212"/>
              <a:gd name="connsiteX3" fmla="*/ 11298386 w 11298386"/>
              <a:gd name="connsiteY3" fmla="*/ 6283325 h 6286212"/>
              <a:gd name="connsiteX4" fmla="*/ 11298386 w 11298386"/>
              <a:gd name="connsiteY4" fmla="*/ 6286212 h 6286212"/>
              <a:gd name="connsiteX5" fmla="*/ 10722386 w 11298386"/>
              <a:gd name="connsiteY5" fmla="*/ 6286212 h 6286212"/>
              <a:gd name="connsiteX6" fmla="*/ 10722386 w 11298386"/>
              <a:gd name="connsiteY6" fmla="*/ 6283325 h 6286212"/>
              <a:gd name="connsiteX7" fmla="*/ 0 w 11298386"/>
              <a:gd name="connsiteY7" fmla="*/ 6283325 h 6286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8386" h="6286212">
                <a:moveTo>
                  <a:pt x="0" y="0"/>
                </a:moveTo>
                <a:lnTo>
                  <a:pt x="11298386" y="0"/>
                </a:lnTo>
                <a:lnTo>
                  <a:pt x="11298386" y="6078273"/>
                </a:lnTo>
                <a:lnTo>
                  <a:pt x="11298386" y="6283325"/>
                </a:lnTo>
                <a:lnTo>
                  <a:pt x="11298386" y="6286212"/>
                </a:lnTo>
                <a:lnTo>
                  <a:pt x="10722386" y="6286212"/>
                </a:lnTo>
                <a:lnTo>
                  <a:pt x="10722386" y="6283325"/>
                </a:lnTo>
                <a:lnTo>
                  <a:pt x="0" y="62833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0" bIns="2880000" anchor="ctr" anchorCtr="0">
            <a:noAutofit/>
          </a:bodyPr>
          <a:lstStyle>
            <a:lvl1pPr marL="0" indent="0" algn="ctr">
              <a:buNone/>
              <a:defRPr sz="12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 dirty="0"/>
              <a:t>Selecteer dit kader, ga naar de tab ‘Invoegen’, kies de gewenste afbeelding en klik op ‘Invoegen’</a:t>
            </a:r>
          </a:p>
        </p:txBody>
      </p:sp>
      <p:grpSp>
        <p:nvGrpSpPr>
          <p:cNvPr id="16" name="GRID" hidden="1">
            <a:extLst>
              <a:ext uri="{FF2B5EF4-FFF2-40B4-BE49-F238E27FC236}">
                <a16:creationId xmlns:a16="http://schemas.microsoft.com/office/drawing/2014/main" id="{F319575D-1BE1-4CB3-B193-D94E8A4B8396}"/>
              </a:ext>
            </a:extLst>
          </p:cNvPr>
          <p:cNvGrpSpPr/>
          <p:nvPr userDrawn="1"/>
        </p:nvGrpSpPr>
        <p:grpSpPr>
          <a:xfrm>
            <a:off x="-12032" y="-282911"/>
            <a:ext cx="12204032" cy="7140911"/>
            <a:chOff x="-12032" y="-282911"/>
            <a:chExt cx="12204032" cy="7140911"/>
          </a:xfrm>
          <a:solidFill>
            <a:schemeClr val="tx1">
              <a:alpha val="20000"/>
            </a:schemeClr>
          </a:solidFill>
        </p:grpSpPr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7C649C24-162B-490D-8309-BD7F6EE15027}"/>
                </a:ext>
              </a:extLst>
            </p:cNvPr>
            <p:cNvSpPr/>
            <p:nvPr userDrawn="1"/>
          </p:nvSpPr>
          <p:spPr>
            <a:xfrm>
              <a:off x="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445FCC4D-302E-4BB9-927E-5C2398704AFC}"/>
                </a:ext>
              </a:extLst>
            </p:cNvPr>
            <p:cNvSpPr/>
            <p:nvPr userDrawn="1"/>
          </p:nvSpPr>
          <p:spPr>
            <a:xfrm>
              <a:off x="1147200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0" name="Rechthoek 19">
              <a:extLst>
                <a:ext uri="{FF2B5EF4-FFF2-40B4-BE49-F238E27FC236}">
                  <a16:creationId xmlns:a16="http://schemas.microsoft.com/office/drawing/2014/main" id="{1923E5DD-D56D-4CFB-A6A6-87D109588BB5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9B0E07BB-1FFD-4488-B5AB-558B1FF16B4E}"/>
                </a:ext>
              </a:extLst>
            </p:cNvPr>
            <p:cNvSpPr/>
            <p:nvPr userDrawn="1"/>
          </p:nvSpPr>
          <p:spPr>
            <a:xfrm>
              <a:off x="-12032" y="588015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E9B85FCB-6306-4E69-91B3-71D72DB96105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3F0BAFD4-6239-4D39-93E5-82E9E854540E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307091EB-1C56-4470-9F6C-E9F091A2EAD4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2C450DB-83CF-4EEC-926D-36621FBB62EF}"/>
                </a:ext>
              </a:extLst>
            </p:cNvPr>
            <p:cNvSpPr/>
            <p:nvPr userDrawn="1"/>
          </p:nvSpPr>
          <p:spPr>
            <a:xfrm>
              <a:off x="0" y="1063256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7" name="Rechthoek 26">
              <a:extLst>
                <a:ext uri="{FF2B5EF4-FFF2-40B4-BE49-F238E27FC236}">
                  <a16:creationId xmlns:a16="http://schemas.microsoft.com/office/drawing/2014/main" id="{377F1DB8-82CD-4686-BCE7-96BB962F0D09}"/>
                </a:ext>
              </a:extLst>
            </p:cNvPr>
            <p:cNvSpPr/>
            <p:nvPr userDrawn="1"/>
          </p:nvSpPr>
          <p:spPr>
            <a:xfrm rot="2700000">
              <a:off x="8741900" y="625281"/>
              <a:ext cx="2104384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grpSp>
        <p:nvGrpSpPr>
          <p:cNvPr id="6" name="DYNAMIC DEVICE" hidden="1">
            <a:extLst>
              <a:ext uri="{FF2B5EF4-FFF2-40B4-BE49-F238E27FC236}">
                <a16:creationId xmlns:a16="http://schemas.microsoft.com/office/drawing/2014/main" id="{B5286F1F-477A-4BE1-86FA-A1C138E1195C}"/>
              </a:ext>
            </a:extLst>
          </p:cNvPr>
          <p:cNvGrpSpPr/>
          <p:nvPr userDrawn="1"/>
        </p:nvGrpSpPr>
        <p:grpSpPr>
          <a:xfrm>
            <a:off x="281765" y="3163312"/>
            <a:ext cx="9730597" cy="1781022"/>
            <a:chOff x="281765" y="3163312"/>
            <a:chExt cx="9730597" cy="1781022"/>
          </a:xfrm>
        </p:grpSpPr>
        <p:grpSp>
          <p:nvGrpSpPr>
            <p:cNvPr id="2" name="Groep 1">
              <a:extLst>
                <a:ext uri="{FF2B5EF4-FFF2-40B4-BE49-F238E27FC236}">
                  <a16:creationId xmlns:a16="http://schemas.microsoft.com/office/drawing/2014/main" id="{FFFCDC1A-E77C-4645-AA40-37FAF279D15C}"/>
                </a:ext>
              </a:extLst>
            </p:cNvPr>
            <p:cNvGrpSpPr/>
            <p:nvPr userDrawn="1"/>
          </p:nvGrpSpPr>
          <p:grpSpPr>
            <a:xfrm>
              <a:off x="281765" y="3163312"/>
              <a:ext cx="9730597" cy="890232"/>
              <a:chOff x="281765" y="3163312"/>
              <a:chExt cx="9730597" cy="890232"/>
            </a:xfrm>
          </p:grpSpPr>
          <p:sp>
            <p:nvSpPr>
              <p:cNvPr id="98" name="Vrije vorm: vorm 97">
                <a:extLst>
                  <a:ext uri="{FF2B5EF4-FFF2-40B4-BE49-F238E27FC236}">
                    <a16:creationId xmlns:a16="http://schemas.microsoft.com/office/drawing/2014/main" id="{FB5C508C-270E-4884-BA6D-F33265BFDF73}"/>
                  </a:ext>
                </a:extLst>
              </p:cNvPr>
              <p:cNvSpPr/>
              <p:nvPr/>
            </p:nvSpPr>
            <p:spPr>
              <a:xfrm>
                <a:off x="281765" y="3163828"/>
                <a:ext cx="9730590" cy="889200"/>
              </a:xfrm>
              <a:custGeom>
                <a:avLst/>
                <a:gdLst>
                  <a:gd name="connsiteX0" fmla="*/ 0 w 3890192"/>
                  <a:gd name="connsiteY0" fmla="*/ 0 h 999022"/>
                  <a:gd name="connsiteX1" fmla="*/ 3890192 w 3890192"/>
                  <a:gd name="connsiteY1" fmla="*/ 0 h 999022"/>
                  <a:gd name="connsiteX2" fmla="*/ 3890192 w 3890192"/>
                  <a:gd name="connsiteY2" fmla="*/ 999022 h 999022"/>
                  <a:gd name="connsiteX3" fmla="*/ 0 w 3890192"/>
                  <a:gd name="connsiteY3" fmla="*/ 999022 h 999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0192" h="999022">
                    <a:moveTo>
                      <a:pt x="0" y="0"/>
                    </a:moveTo>
                    <a:lnTo>
                      <a:pt x="3890192" y="0"/>
                    </a:lnTo>
                    <a:lnTo>
                      <a:pt x="3890192" y="999022"/>
                    </a:lnTo>
                    <a:lnTo>
                      <a:pt x="0" y="999022"/>
                    </a:lnTo>
                    <a:close/>
                  </a:path>
                </a:pathLst>
              </a:custGeom>
              <a:solidFill>
                <a:srgbClr val="E5007D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2" name="Vrije vorm: vorm 101">
                <a:extLst>
                  <a:ext uri="{FF2B5EF4-FFF2-40B4-BE49-F238E27FC236}">
                    <a16:creationId xmlns:a16="http://schemas.microsoft.com/office/drawing/2014/main" id="{0FC61FF3-7A51-4A68-B99E-4D579A78B6E3}"/>
                  </a:ext>
                </a:extLst>
              </p:cNvPr>
              <p:cNvSpPr/>
              <p:nvPr/>
            </p:nvSpPr>
            <p:spPr>
              <a:xfrm>
                <a:off x="7350986" y="3164516"/>
                <a:ext cx="1781858" cy="887825"/>
              </a:xfrm>
              <a:custGeom>
                <a:avLst/>
                <a:gdLst>
                  <a:gd name="connsiteX0" fmla="*/ 0 w 758858"/>
                  <a:gd name="connsiteY0" fmla="*/ 0 h 381214"/>
                  <a:gd name="connsiteX1" fmla="*/ 755277 w 758858"/>
                  <a:gd name="connsiteY1" fmla="*/ 0 h 381214"/>
                  <a:gd name="connsiteX2" fmla="*/ 758858 w 758858"/>
                  <a:gd name="connsiteY2" fmla="*/ 3581 h 381214"/>
                  <a:gd name="connsiteX3" fmla="*/ 381225 w 758858"/>
                  <a:gd name="connsiteY3" fmla="*/ 381214 h 381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8858" h="381214">
                    <a:moveTo>
                      <a:pt x="0" y="0"/>
                    </a:moveTo>
                    <a:lnTo>
                      <a:pt x="755277" y="0"/>
                    </a:lnTo>
                    <a:lnTo>
                      <a:pt x="758858" y="3581"/>
                    </a:lnTo>
                    <a:lnTo>
                      <a:pt x="381225" y="381214"/>
                    </a:lnTo>
                    <a:close/>
                  </a:path>
                </a:pathLst>
              </a:custGeom>
              <a:solidFill>
                <a:srgbClr val="BF027F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3" name="Graphic 6">
                <a:extLst>
                  <a:ext uri="{FF2B5EF4-FFF2-40B4-BE49-F238E27FC236}">
                    <a16:creationId xmlns:a16="http://schemas.microsoft.com/office/drawing/2014/main" id="{999A557C-F10B-410E-823A-F4D0F2159B3A}"/>
                  </a:ext>
                </a:extLst>
              </p:cNvPr>
              <p:cNvSpPr/>
              <p:nvPr/>
            </p:nvSpPr>
            <p:spPr>
              <a:xfrm>
                <a:off x="8238931" y="3163312"/>
                <a:ext cx="1773431" cy="890232"/>
              </a:xfrm>
              <a:custGeom>
                <a:avLst/>
                <a:gdLst>
                  <a:gd name="connsiteX0" fmla="*/ 0 w 368433"/>
                  <a:gd name="connsiteY0" fmla="*/ 184217 h 184233"/>
                  <a:gd name="connsiteX1" fmla="*/ 368434 w 368433"/>
                  <a:gd name="connsiteY1" fmla="*/ 184234 h 184233"/>
                  <a:gd name="connsiteX2" fmla="*/ 184217 w 368433"/>
                  <a:gd name="connsiteY2" fmla="*/ 0 h 184233"/>
                  <a:gd name="connsiteX3" fmla="*/ 0 w 368433"/>
                  <a:gd name="connsiteY3" fmla="*/ 184217 h 184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433" h="184233">
                    <a:moveTo>
                      <a:pt x="0" y="184217"/>
                    </a:moveTo>
                    <a:lnTo>
                      <a:pt x="368434" y="184234"/>
                    </a:lnTo>
                    <a:lnTo>
                      <a:pt x="184217" y="0"/>
                    </a:lnTo>
                    <a:lnTo>
                      <a:pt x="0" y="184217"/>
                    </a:lnTo>
                    <a:close/>
                  </a:path>
                </a:pathLst>
              </a:custGeom>
              <a:solidFill>
                <a:srgbClr val="A71380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5" name="Groep 4">
              <a:extLst>
                <a:ext uri="{FF2B5EF4-FFF2-40B4-BE49-F238E27FC236}">
                  <a16:creationId xmlns:a16="http://schemas.microsoft.com/office/drawing/2014/main" id="{63D0F653-81D1-47C7-BF75-390D762811DF}"/>
                </a:ext>
              </a:extLst>
            </p:cNvPr>
            <p:cNvGrpSpPr/>
            <p:nvPr userDrawn="1"/>
          </p:nvGrpSpPr>
          <p:grpSpPr>
            <a:xfrm>
              <a:off x="281765" y="4054102"/>
              <a:ext cx="9730597" cy="890232"/>
              <a:chOff x="281765" y="4054102"/>
              <a:chExt cx="9730597" cy="890232"/>
            </a:xfrm>
          </p:grpSpPr>
          <p:sp>
            <p:nvSpPr>
              <p:cNvPr id="99" name="Vrije vorm: vorm 98">
                <a:extLst>
                  <a:ext uri="{FF2B5EF4-FFF2-40B4-BE49-F238E27FC236}">
                    <a16:creationId xmlns:a16="http://schemas.microsoft.com/office/drawing/2014/main" id="{2D7FDBBD-0CEA-4B3F-87AF-F9D78ADCD7B3}"/>
                  </a:ext>
                </a:extLst>
              </p:cNvPr>
              <p:cNvSpPr/>
              <p:nvPr/>
            </p:nvSpPr>
            <p:spPr>
              <a:xfrm>
                <a:off x="281765" y="4055431"/>
                <a:ext cx="9730590" cy="887574"/>
              </a:xfrm>
              <a:custGeom>
                <a:avLst/>
                <a:gdLst>
                  <a:gd name="connsiteX0" fmla="*/ 0 w 3890193"/>
                  <a:gd name="connsiteY0" fmla="*/ 0 h 998237"/>
                  <a:gd name="connsiteX1" fmla="*/ 3890193 w 3890193"/>
                  <a:gd name="connsiteY1" fmla="*/ 0 h 998237"/>
                  <a:gd name="connsiteX2" fmla="*/ 3890193 w 3890193"/>
                  <a:gd name="connsiteY2" fmla="*/ 998237 h 998237"/>
                  <a:gd name="connsiteX3" fmla="*/ 0 w 3890193"/>
                  <a:gd name="connsiteY3" fmla="*/ 998237 h 998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0193" h="998237">
                    <a:moveTo>
                      <a:pt x="0" y="0"/>
                    </a:moveTo>
                    <a:lnTo>
                      <a:pt x="3890193" y="0"/>
                    </a:lnTo>
                    <a:lnTo>
                      <a:pt x="3890193" y="998237"/>
                    </a:lnTo>
                    <a:lnTo>
                      <a:pt x="0" y="998237"/>
                    </a:lnTo>
                    <a:close/>
                  </a:path>
                </a:pathLst>
              </a:custGeom>
              <a:solidFill>
                <a:schemeClr val="accent2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1" name="Vrije vorm: vorm 100">
                <a:extLst>
                  <a:ext uri="{FF2B5EF4-FFF2-40B4-BE49-F238E27FC236}">
                    <a16:creationId xmlns:a16="http://schemas.microsoft.com/office/drawing/2014/main" id="{0DCB2CFC-88A6-4057-82D3-F9E5ABB83640}"/>
                  </a:ext>
                </a:extLst>
              </p:cNvPr>
              <p:cNvSpPr/>
              <p:nvPr/>
            </p:nvSpPr>
            <p:spPr>
              <a:xfrm>
                <a:off x="7355192" y="4054102"/>
                <a:ext cx="1773445" cy="890232"/>
              </a:xfrm>
              <a:custGeom>
                <a:avLst/>
                <a:gdLst>
                  <a:gd name="connsiteX0" fmla="*/ 377643 w 755275"/>
                  <a:gd name="connsiteY0" fmla="*/ 0 h 377632"/>
                  <a:gd name="connsiteX1" fmla="*/ 755275 w 755275"/>
                  <a:gd name="connsiteY1" fmla="*/ 377632 h 377632"/>
                  <a:gd name="connsiteX2" fmla="*/ 0 w 755275"/>
                  <a:gd name="connsiteY2" fmla="*/ 377632 h 37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5275" h="377632">
                    <a:moveTo>
                      <a:pt x="377643" y="0"/>
                    </a:moveTo>
                    <a:lnTo>
                      <a:pt x="755275" y="377632"/>
                    </a:lnTo>
                    <a:lnTo>
                      <a:pt x="0" y="377632"/>
                    </a:lnTo>
                    <a:close/>
                  </a:path>
                </a:pathLst>
              </a:custGeom>
              <a:solidFill>
                <a:srgbClr val="A7C80C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4" name="Graphic 6">
                <a:extLst>
                  <a:ext uri="{FF2B5EF4-FFF2-40B4-BE49-F238E27FC236}">
                    <a16:creationId xmlns:a16="http://schemas.microsoft.com/office/drawing/2014/main" id="{20ECF69E-B41C-471D-B162-4F9927B126DF}"/>
                  </a:ext>
                </a:extLst>
              </p:cNvPr>
              <p:cNvSpPr/>
              <p:nvPr/>
            </p:nvSpPr>
            <p:spPr>
              <a:xfrm>
                <a:off x="8238931" y="4054102"/>
                <a:ext cx="1773431" cy="890232"/>
              </a:xfrm>
              <a:custGeom>
                <a:avLst/>
                <a:gdLst>
                  <a:gd name="connsiteX0" fmla="*/ 184217 w 368433"/>
                  <a:gd name="connsiteY0" fmla="*/ 184217 h 184216"/>
                  <a:gd name="connsiteX1" fmla="*/ 368434 w 368433"/>
                  <a:gd name="connsiteY1" fmla="*/ 0 h 184216"/>
                  <a:gd name="connsiteX2" fmla="*/ 0 w 368433"/>
                  <a:gd name="connsiteY2" fmla="*/ 0 h 184216"/>
                  <a:gd name="connsiteX3" fmla="*/ 184217 w 368433"/>
                  <a:gd name="connsiteY3" fmla="*/ 184217 h 184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433" h="184216">
                    <a:moveTo>
                      <a:pt x="184217" y="184217"/>
                    </a:moveTo>
                    <a:lnTo>
                      <a:pt x="368434" y="0"/>
                    </a:lnTo>
                    <a:lnTo>
                      <a:pt x="0" y="0"/>
                    </a:lnTo>
                    <a:lnTo>
                      <a:pt x="184217" y="184217"/>
                    </a:lnTo>
                    <a:close/>
                  </a:path>
                </a:pathLst>
              </a:custGeom>
              <a:solidFill>
                <a:srgbClr val="8BBE1F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05" name="GRID" hidden="1">
            <a:extLst>
              <a:ext uri="{FF2B5EF4-FFF2-40B4-BE49-F238E27FC236}">
                <a16:creationId xmlns:a16="http://schemas.microsoft.com/office/drawing/2014/main" id="{7D174604-FE5F-4813-8732-954C528C8290}"/>
              </a:ext>
            </a:extLst>
          </p:cNvPr>
          <p:cNvGrpSpPr/>
          <p:nvPr userDrawn="1"/>
        </p:nvGrpSpPr>
        <p:grpSpPr>
          <a:xfrm>
            <a:off x="-12032" y="0"/>
            <a:ext cx="12204032" cy="6858000"/>
            <a:chOff x="-12032" y="0"/>
            <a:chExt cx="12204032" cy="6858000"/>
          </a:xfrm>
          <a:solidFill>
            <a:schemeClr val="tx1">
              <a:alpha val="20000"/>
            </a:schemeClr>
          </a:solidFill>
        </p:grpSpPr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42A51D21-EADE-4E1A-925C-FB173B9687EA}"/>
                </a:ext>
              </a:extLst>
            </p:cNvPr>
            <p:cNvSpPr/>
            <p:nvPr userDrawn="1"/>
          </p:nvSpPr>
          <p:spPr>
            <a:xfrm>
              <a:off x="0" y="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1E53A6F8-19A1-4DCA-9378-1202A64CC9EE}"/>
                </a:ext>
              </a:extLst>
            </p:cNvPr>
            <p:cNvSpPr/>
            <p:nvPr userDrawn="1"/>
          </p:nvSpPr>
          <p:spPr>
            <a:xfrm>
              <a:off x="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8" name="Rechthoek 107">
              <a:extLst>
                <a:ext uri="{FF2B5EF4-FFF2-40B4-BE49-F238E27FC236}">
                  <a16:creationId xmlns:a16="http://schemas.microsoft.com/office/drawing/2014/main" id="{EF477EAB-3AAB-489A-8B40-2617F00D944B}"/>
                </a:ext>
              </a:extLst>
            </p:cNvPr>
            <p:cNvSpPr/>
            <p:nvPr userDrawn="1"/>
          </p:nvSpPr>
          <p:spPr>
            <a:xfrm>
              <a:off x="1161600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E32858EC-9757-4F87-8E68-2E0A538BFF7A}"/>
                </a:ext>
              </a:extLst>
            </p:cNvPr>
            <p:cNvSpPr/>
            <p:nvPr userDrawn="1"/>
          </p:nvSpPr>
          <p:spPr>
            <a:xfrm>
              <a:off x="0" y="1227241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4A34094A-73F0-47BE-935E-8302DA4E0F6E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1" name="Rechthoek 110">
              <a:extLst>
                <a:ext uri="{FF2B5EF4-FFF2-40B4-BE49-F238E27FC236}">
                  <a16:creationId xmlns:a16="http://schemas.microsoft.com/office/drawing/2014/main" id="{4817BD70-983D-4F15-8C97-FDD7DA7D952A}"/>
                </a:ext>
              </a:extLst>
            </p:cNvPr>
            <p:cNvSpPr/>
            <p:nvPr userDrawn="1"/>
          </p:nvSpPr>
          <p:spPr>
            <a:xfrm>
              <a:off x="-12032" y="562646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0E36A908-5AC8-4999-875F-DA5D76447287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21FED529-B705-48AF-9500-877C1BA0E84C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4" name="Rechthoek 113">
              <a:extLst>
                <a:ext uri="{FF2B5EF4-FFF2-40B4-BE49-F238E27FC236}">
                  <a16:creationId xmlns:a16="http://schemas.microsoft.com/office/drawing/2014/main" id="{E5086412-09CE-4AD8-8F97-0E11DA4F1E25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5" name="Rechthoek 114">
              <a:extLst>
                <a:ext uri="{FF2B5EF4-FFF2-40B4-BE49-F238E27FC236}">
                  <a16:creationId xmlns:a16="http://schemas.microsoft.com/office/drawing/2014/main" id="{770B1A5F-1D9B-4DBD-BF67-9C12233D4C57}"/>
                </a:ext>
              </a:extLst>
            </p:cNvPr>
            <p:cNvSpPr/>
            <p:nvPr userDrawn="1"/>
          </p:nvSpPr>
          <p:spPr>
            <a:xfrm>
              <a:off x="0" y="628200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D8CAB18A-C6CC-485C-9315-45590F672687}"/>
                </a:ext>
              </a:extLst>
            </p:cNvPr>
            <p:cNvSpPr/>
            <p:nvPr userDrawn="1"/>
          </p:nvSpPr>
          <p:spPr>
            <a:xfrm>
              <a:off x="574675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pic>
        <p:nvPicPr>
          <p:cNvPr id="118" name="LOGO">
            <a:extLst>
              <a:ext uri="{FF2B5EF4-FFF2-40B4-BE49-F238E27FC236}">
                <a16:creationId xmlns:a16="http://schemas.microsoft.com/office/drawing/2014/main" id="{FB70A35B-491F-4797-A00B-1664EDF8E7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8004" y="45291"/>
            <a:ext cx="2643570" cy="127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85073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hoek 31">
            <a:extLst>
              <a:ext uri="{FF2B5EF4-FFF2-40B4-BE49-F238E27FC236}">
                <a16:creationId xmlns:a16="http://schemas.microsoft.com/office/drawing/2014/main" id="{FB44FA68-46B7-4757-998C-7F2CA7BCB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/>
          </a:p>
        </p:txBody>
      </p:sp>
      <p:sp>
        <p:nvSpPr>
          <p:cNvPr id="136" name="Tijdelijke aanduiding voor afbeelding 135">
            <a:extLst>
              <a:ext uri="{FF2B5EF4-FFF2-40B4-BE49-F238E27FC236}">
                <a16:creationId xmlns:a16="http://schemas.microsoft.com/office/drawing/2014/main" id="{70ABD11C-2D39-460A-9871-6805FF448F5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858822" y="1376362"/>
            <a:ext cx="10026271" cy="4302777"/>
          </a:xfrm>
          <a:custGeom>
            <a:avLst/>
            <a:gdLst>
              <a:gd name="connsiteX0" fmla="*/ 0 w 11298386"/>
              <a:gd name="connsiteY0" fmla="*/ 0 h 6286212"/>
              <a:gd name="connsiteX1" fmla="*/ 11298386 w 11298386"/>
              <a:gd name="connsiteY1" fmla="*/ 0 h 6286212"/>
              <a:gd name="connsiteX2" fmla="*/ 11298386 w 11298386"/>
              <a:gd name="connsiteY2" fmla="*/ 6078273 h 6286212"/>
              <a:gd name="connsiteX3" fmla="*/ 11298386 w 11298386"/>
              <a:gd name="connsiteY3" fmla="*/ 6283325 h 6286212"/>
              <a:gd name="connsiteX4" fmla="*/ 11298386 w 11298386"/>
              <a:gd name="connsiteY4" fmla="*/ 6286212 h 6286212"/>
              <a:gd name="connsiteX5" fmla="*/ 10722386 w 11298386"/>
              <a:gd name="connsiteY5" fmla="*/ 6286212 h 6286212"/>
              <a:gd name="connsiteX6" fmla="*/ 10722386 w 11298386"/>
              <a:gd name="connsiteY6" fmla="*/ 6283325 h 6286212"/>
              <a:gd name="connsiteX7" fmla="*/ 0 w 11298386"/>
              <a:gd name="connsiteY7" fmla="*/ 6283325 h 6286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8386" h="6286212">
                <a:moveTo>
                  <a:pt x="0" y="0"/>
                </a:moveTo>
                <a:lnTo>
                  <a:pt x="11298386" y="0"/>
                </a:lnTo>
                <a:lnTo>
                  <a:pt x="11298386" y="6078273"/>
                </a:lnTo>
                <a:lnTo>
                  <a:pt x="11298386" y="6283325"/>
                </a:lnTo>
                <a:lnTo>
                  <a:pt x="11298386" y="6286212"/>
                </a:lnTo>
                <a:lnTo>
                  <a:pt x="10722386" y="6286212"/>
                </a:lnTo>
                <a:lnTo>
                  <a:pt x="10722386" y="6283325"/>
                </a:lnTo>
                <a:lnTo>
                  <a:pt x="0" y="62833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0" bIns="2880000" anchor="ctr" anchorCtr="0">
            <a:noAutofit/>
          </a:bodyPr>
          <a:lstStyle>
            <a:lvl1pPr marL="0" indent="0" algn="ctr">
              <a:buNone/>
              <a:defRPr sz="12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 dirty="0"/>
              <a:t>Selecteer dit kader, ga naar de tab ‘Invoegen’, kies de gewenste afbeelding en klik op ‘Invoegen’</a:t>
            </a:r>
          </a:p>
        </p:txBody>
      </p:sp>
      <p:grpSp>
        <p:nvGrpSpPr>
          <p:cNvPr id="16" name="GRID" hidden="1">
            <a:extLst>
              <a:ext uri="{FF2B5EF4-FFF2-40B4-BE49-F238E27FC236}">
                <a16:creationId xmlns:a16="http://schemas.microsoft.com/office/drawing/2014/main" id="{F319575D-1BE1-4CB3-B193-D94E8A4B8396}"/>
              </a:ext>
            </a:extLst>
          </p:cNvPr>
          <p:cNvGrpSpPr/>
          <p:nvPr userDrawn="1"/>
        </p:nvGrpSpPr>
        <p:grpSpPr>
          <a:xfrm>
            <a:off x="-12032" y="-282911"/>
            <a:ext cx="12204032" cy="7140911"/>
            <a:chOff x="-12032" y="-282911"/>
            <a:chExt cx="12204032" cy="7140911"/>
          </a:xfrm>
          <a:solidFill>
            <a:schemeClr val="tx1">
              <a:alpha val="20000"/>
            </a:schemeClr>
          </a:solidFill>
        </p:grpSpPr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7C649C24-162B-490D-8309-BD7F6EE15027}"/>
                </a:ext>
              </a:extLst>
            </p:cNvPr>
            <p:cNvSpPr/>
            <p:nvPr userDrawn="1"/>
          </p:nvSpPr>
          <p:spPr>
            <a:xfrm>
              <a:off x="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445FCC4D-302E-4BB9-927E-5C2398704AFC}"/>
                </a:ext>
              </a:extLst>
            </p:cNvPr>
            <p:cNvSpPr/>
            <p:nvPr userDrawn="1"/>
          </p:nvSpPr>
          <p:spPr>
            <a:xfrm>
              <a:off x="1147200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0" name="Rechthoek 19">
              <a:extLst>
                <a:ext uri="{FF2B5EF4-FFF2-40B4-BE49-F238E27FC236}">
                  <a16:creationId xmlns:a16="http://schemas.microsoft.com/office/drawing/2014/main" id="{1923E5DD-D56D-4CFB-A6A6-87D109588BB5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9B0E07BB-1FFD-4488-B5AB-558B1FF16B4E}"/>
                </a:ext>
              </a:extLst>
            </p:cNvPr>
            <p:cNvSpPr/>
            <p:nvPr userDrawn="1"/>
          </p:nvSpPr>
          <p:spPr>
            <a:xfrm>
              <a:off x="-12032" y="588015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E9B85FCB-6306-4E69-91B3-71D72DB96105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3F0BAFD4-6239-4D39-93E5-82E9E854540E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307091EB-1C56-4470-9F6C-E9F091A2EAD4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2C450DB-83CF-4EEC-926D-36621FBB62EF}"/>
                </a:ext>
              </a:extLst>
            </p:cNvPr>
            <p:cNvSpPr/>
            <p:nvPr userDrawn="1"/>
          </p:nvSpPr>
          <p:spPr>
            <a:xfrm>
              <a:off x="0" y="1063256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7" name="Rechthoek 26">
              <a:extLst>
                <a:ext uri="{FF2B5EF4-FFF2-40B4-BE49-F238E27FC236}">
                  <a16:creationId xmlns:a16="http://schemas.microsoft.com/office/drawing/2014/main" id="{377F1DB8-82CD-4686-BCE7-96BB962F0D09}"/>
                </a:ext>
              </a:extLst>
            </p:cNvPr>
            <p:cNvSpPr/>
            <p:nvPr userDrawn="1"/>
          </p:nvSpPr>
          <p:spPr>
            <a:xfrm rot="2700000">
              <a:off x="8741900" y="625281"/>
              <a:ext cx="2104384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grpSp>
        <p:nvGrpSpPr>
          <p:cNvPr id="6" name="DYNAMIC DEVICE" hidden="1">
            <a:extLst>
              <a:ext uri="{FF2B5EF4-FFF2-40B4-BE49-F238E27FC236}">
                <a16:creationId xmlns:a16="http://schemas.microsoft.com/office/drawing/2014/main" id="{B5286F1F-477A-4BE1-86FA-A1C138E1195C}"/>
              </a:ext>
            </a:extLst>
          </p:cNvPr>
          <p:cNvGrpSpPr/>
          <p:nvPr userDrawn="1"/>
        </p:nvGrpSpPr>
        <p:grpSpPr>
          <a:xfrm>
            <a:off x="281765" y="3163312"/>
            <a:ext cx="9730597" cy="1781022"/>
            <a:chOff x="281765" y="3163312"/>
            <a:chExt cx="9730597" cy="1781022"/>
          </a:xfrm>
        </p:grpSpPr>
        <p:grpSp>
          <p:nvGrpSpPr>
            <p:cNvPr id="2" name="Groep 1">
              <a:extLst>
                <a:ext uri="{FF2B5EF4-FFF2-40B4-BE49-F238E27FC236}">
                  <a16:creationId xmlns:a16="http://schemas.microsoft.com/office/drawing/2014/main" id="{FFFCDC1A-E77C-4645-AA40-37FAF279D15C}"/>
                </a:ext>
              </a:extLst>
            </p:cNvPr>
            <p:cNvGrpSpPr/>
            <p:nvPr userDrawn="1"/>
          </p:nvGrpSpPr>
          <p:grpSpPr>
            <a:xfrm>
              <a:off x="281765" y="3163312"/>
              <a:ext cx="9730597" cy="890232"/>
              <a:chOff x="281765" y="3163312"/>
              <a:chExt cx="9730597" cy="890232"/>
            </a:xfrm>
          </p:grpSpPr>
          <p:sp>
            <p:nvSpPr>
              <p:cNvPr id="98" name="Vrije vorm: vorm 97">
                <a:extLst>
                  <a:ext uri="{FF2B5EF4-FFF2-40B4-BE49-F238E27FC236}">
                    <a16:creationId xmlns:a16="http://schemas.microsoft.com/office/drawing/2014/main" id="{FB5C508C-270E-4884-BA6D-F33265BFDF73}"/>
                  </a:ext>
                </a:extLst>
              </p:cNvPr>
              <p:cNvSpPr/>
              <p:nvPr/>
            </p:nvSpPr>
            <p:spPr>
              <a:xfrm>
                <a:off x="281765" y="3163828"/>
                <a:ext cx="9730590" cy="889200"/>
              </a:xfrm>
              <a:custGeom>
                <a:avLst/>
                <a:gdLst>
                  <a:gd name="connsiteX0" fmla="*/ 0 w 3890192"/>
                  <a:gd name="connsiteY0" fmla="*/ 0 h 999022"/>
                  <a:gd name="connsiteX1" fmla="*/ 3890192 w 3890192"/>
                  <a:gd name="connsiteY1" fmla="*/ 0 h 999022"/>
                  <a:gd name="connsiteX2" fmla="*/ 3890192 w 3890192"/>
                  <a:gd name="connsiteY2" fmla="*/ 999022 h 999022"/>
                  <a:gd name="connsiteX3" fmla="*/ 0 w 3890192"/>
                  <a:gd name="connsiteY3" fmla="*/ 999022 h 999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0192" h="999022">
                    <a:moveTo>
                      <a:pt x="0" y="0"/>
                    </a:moveTo>
                    <a:lnTo>
                      <a:pt x="3890192" y="0"/>
                    </a:lnTo>
                    <a:lnTo>
                      <a:pt x="3890192" y="999022"/>
                    </a:lnTo>
                    <a:lnTo>
                      <a:pt x="0" y="999022"/>
                    </a:lnTo>
                    <a:close/>
                  </a:path>
                </a:pathLst>
              </a:custGeom>
              <a:solidFill>
                <a:srgbClr val="E5007D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2" name="Vrije vorm: vorm 101">
                <a:extLst>
                  <a:ext uri="{FF2B5EF4-FFF2-40B4-BE49-F238E27FC236}">
                    <a16:creationId xmlns:a16="http://schemas.microsoft.com/office/drawing/2014/main" id="{0FC61FF3-7A51-4A68-B99E-4D579A78B6E3}"/>
                  </a:ext>
                </a:extLst>
              </p:cNvPr>
              <p:cNvSpPr/>
              <p:nvPr/>
            </p:nvSpPr>
            <p:spPr>
              <a:xfrm>
                <a:off x="7350986" y="3164516"/>
                <a:ext cx="1781858" cy="887825"/>
              </a:xfrm>
              <a:custGeom>
                <a:avLst/>
                <a:gdLst>
                  <a:gd name="connsiteX0" fmla="*/ 0 w 758858"/>
                  <a:gd name="connsiteY0" fmla="*/ 0 h 381214"/>
                  <a:gd name="connsiteX1" fmla="*/ 755277 w 758858"/>
                  <a:gd name="connsiteY1" fmla="*/ 0 h 381214"/>
                  <a:gd name="connsiteX2" fmla="*/ 758858 w 758858"/>
                  <a:gd name="connsiteY2" fmla="*/ 3581 h 381214"/>
                  <a:gd name="connsiteX3" fmla="*/ 381225 w 758858"/>
                  <a:gd name="connsiteY3" fmla="*/ 381214 h 381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8858" h="381214">
                    <a:moveTo>
                      <a:pt x="0" y="0"/>
                    </a:moveTo>
                    <a:lnTo>
                      <a:pt x="755277" y="0"/>
                    </a:lnTo>
                    <a:lnTo>
                      <a:pt x="758858" y="3581"/>
                    </a:lnTo>
                    <a:lnTo>
                      <a:pt x="381225" y="381214"/>
                    </a:lnTo>
                    <a:close/>
                  </a:path>
                </a:pathLst>
              </a:custGeom>
              <a:solidFill>
                <a:srgbClr val="BF027F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3" name="Graphic 6">
                <a:extLst>
                  <a:ext uri="{FF2B5EF4-FFF2-40B4-BE49-F238E27FC236}">
                    <a16:creationId xmlns:a16="http://schemas.microsoft.com/office/drawing/2014/main" id="{999A557C-F10B-410E-823A-F4D0F2159B3A}"/>
                  </a:ext>
                </a:extLst>
              </p:cNvPr>
              <p:cNvSpPr/>
              <p:nvPr/>
            </p:nvSpPr>
            <p:spPr>
              <a:xfrm>
                <a:off x="8238931" y="3163312"/>
                <a:ext cx="1773431" cy="890232"/>
              </a:xfrm>
              <a:custGeom>
                <a:avLst/>
                <a:gdLst>
                  <a:gd name="connsiteX0" fmla="*/ 0 w 368433"/>
                  <a:gd name="connsiteY0" fmla="*/ 184217 h 184233"/>
                  <a:gd name="connsiteX1" fmla="*/ 368434 w 368433"/>
                  <a:gd name="connsiteY1" fmla="*/ 184234 h 184233"/>
                  <a:gd name="connsiteX2" fmla="*/ 184217 w 368433"/>
                  <a:gd name="connsiteY2" fmla="*/ 0 h 184233"/>
                  <a:gd name="connsiteX3" fmla="*/ 0 w 368433"/>
                  <a:gd name="connsiteY3" fmla="*/ 184217 h 184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433" h="184233">
                    <a:moveTo>
                      <a:pt x="0" y="184217"/>
                    </a:moveTo>
                    <a:lnTo>
                      <a:pt x="368434" y="184234"/>
                    </a:lnTo>
                    <a:lnTo>
                      <a:pt x="184217" y="0"/>
                    </a:lnTo>
                    <a:lnTo>
                      <a:pt x="0" y="184217"/>
                    </a:lnTo>
                    <a:close/>
                  </a:path>
                </a:pathLst>
              </a:custGeom>
              <a:solidFill>
                <a:srgbClr val="A71380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5" name="Groep 4">
              <a:extLst>
                <a:ext uri="{FF2B5EF4-FFF2-40B4-BE49-F238E27FC236}">
                  <a16:creationId xmlns:a16="http://schemas.microsoft.com/office/drawing/2014/main" id="{63D0F653-81D1-47C7-BF75-390D762811DF}"/>
                </a:ext>
              </a:extLst>
            </p:cNvPr>
            <p:cNvGrpSpPr/>
            <p:nvPr userDrawn="1"/>
          </p:nvGrpSpPr>
          <p:grpSpPr>
            <a:xfrm>
              <a:off x="281765" y="4054102"/>
              <a:ext cx="9730597" cy="890232"/>
              <a:chOff x="281765" y="4054102"/>
              <a:chExt cx="9730597" cy="890232"/>
            </a:xfrm>
          </p:grpSpPr>
          <p:sp>
            <p:nvSpPr>
              <p:cNvPr id="99" name="Vrije vorm: vorm 98">
                <a:extLst>
                  <a:ext uri="{FF2B5EF4-FFF2-40B4-BE49-F238E27FC236}">
                    <a16:creationId xmlns:a16="http://schemas.microsoft.com/office/drawing/2014/main" id="{2D7FDBBD-0CEA-4B3F-87AF-F9D78ADCD7B3}"/>
                  </a:ext>
                </a:extLst>
              </p:cNvPr>
              <p:cNvSpPr/>
              <p:nvPr/>
            </p:nvSpPr>
            <p:spPr>
              <a:xfrm>
                <a:off x="281765" y="4055431"/>
                <a:ext cx="9730590" cy="887574"/>
              </a:xfrm>
              <a:custGeom>
                <a:avLst/>
                <a:gdLst>
                  <a:gd name="connsiteX0" fmla="*/ 0 w 3890193"/>
                  <a:gd name="connsiteY0" fmla="*/ 0 h 998237"/>
                  <a:gd name="connsiteX1" fmla="*/ 3890193 w 3890193"/>
                  <a:gd name="connsiteY1" fmla="*/ 0 h 998237"/>
                  <a:gd name="connsiteX2" fmla="*/ 3890193 w 3890193"/>
                  <a:gd name="connsiteY2" fmla="*/ 998237 h 998237"/>
                  <a:gd name="connsiteX3" fmla="*/ 0 w 3890193"/>
                  <a:gd name="connsiteY3" fmla="*/ 998237 h 998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0193" h="998237">
                    <a:moveTo>
                      <a:pt x="0" y="0"/>
                    </a:moveTo>
                    <a:lnTo>
                      <a:pt x="3890193" y="0"/>
                    </a:lnTo>
                    <a:lnTo>
                      <a:pt x="3890193" y="998237"/>
                    </a:lnTo>
                    <a:lnTo>
                      <a:pt x="0" y="998237"/>
                    </a:lnTo>
                    <a:close/>
                  </a:path>
                </a:pathLst>
              </a:custGeom>
              <a:solidFill>
                <a:schemeClr val="accent2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1" name="Vrije vorm: vorm 100">
                <a:extLst>
                  <a:ext uri="{FF2B5EF4-FFF2-40B4-BE49-F238E27FC236}">
                    <a16:creationId xmlns:a16="http://schemas.microsoft.com/office/drawing/2014/main" id="{0DCB2CFC-88A6-4057-82D3-F9E5ABB83640}"/>
                  </a:ext>
                </a:extLst>
              </p:cNvPr>
              <p:cNvSpPr/>
              <p:nvPr/>
            </p:nvSpPr>
            <p:spPr>
              <a:xfrm>
                <a:off x="7355192" y="4054102"/>
                <a:ext cx="1773445" cy="890232"/>
              </a:xfrm>
              <a:custGeom>
                <a:avLst/>
                <a:gdLst>
                  <a:gd name="connsiteX0" fmla="*/ 377643 w 755275"/>
                  <a:gd name="connsiteY0" fmla="*/ 0 h 377632"/>
                  <a:gd name="connsiteX1" fmla="*/ 755275 w 755275"/>
                  <a:gd name="connsiteY1" fmla="*/ 377632 h 377632"/>
                  <a:gd name="connsiteX2" fmla="*/ 0 w 755275"/>
                  <a:gd name="connsiteY2" fmla="*/ 377632 h 37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5275" h="377632">
                    <a:moveTo>
                      <a:pt x="377643" y="0"/>
                    </a:moveTo>
                    <a:lnTo>
                      <a:pt x="755275" y="377632"/>
                    </a:lnTo>
                    <a:lnTo>
                      <a:pt x="0" y="377632"/>
                    </a:lnTo>
                    <a:close/>
                  </a:path>
                </a:pathLst>
              </a:custGeom>
              <a:solidFill>
                <a:srgbClr val="A7C80C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4" name="Graphic 6">
                <a:extLst>
                  <a:ext uri="{FF2B5EF4-FFF2-40B4-BE49-F238E27FC236}">
                    <a16:creationId xmlns:a16="http://schemas.microsoft.com/office/drawing/2014/main" id="{20ECF69E-B41C-471D-B162-4F9927B126DF}"/>
                  </a:ext>
                </a:extLst>
              </p:cNvPr>
              <p:cNvSpPr/>
              <p:nvPr/>
            </p:nvSpPr>
            <p:spPr>
              <a:xfrm>
                <a:off x="8238931" y="4054102"/>
                <a:ext cx="1773431" cy="890232"/>
              </a:xfrm>
              <a:custGeom>
                <a:avLst/>
                <a:gdLst>
                  <a:gd name="connsiteX0" fmla="*/ 184217 w 368433"/>
                  <a:gd name="connsiteY0" fmla="*/ 184217 h 184216"/>
                  <a:gd name="connsiteX1" fmla="*/ 368434 w 368433"/>
                  <a:gd name="connsiteY1" fmla="*/ 0 h 184216"/>
                  <a:gd name="connsiteX2" fmla="*/ 0 w 368433"/>
                  <a:gd name="connsiteY2" fmla="*/ 0 h 184216"/>
                  <a:gd name="connsiteX3" fmla="*/ 184217 w 368433"/>
                  <a:gd name="connsiteY3" fmla="*/ 184217 h 184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433" h="184216">
                    <a:moveTo>
                      <a:pt x="184217" y="184217"/>
                    </a:moveTo>
                    <a:lnTo>
                      <a:pt x="368434" y="0"/>
                    </a:lnTo>
                    <a:lnTo>
                      <a:pt x="0" y="0"/>
                    </a:lnTo>
                    <a:lnTo>
                      <a:pt x="184217" y="184217"/>
                    </a:lnTo>
                    <a:close/>
                  </a:path>
                </a:pathLst>
              </a:custGeom>
              <a:solidFill>
                <a:srgbClr val="8BBE1F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05" name="GRID" hidden="1">
            <a:extLst>
              <a:ext uri="{FF2B5EF4-FFF2-40B4-BE49-F238E27FC236}">
                <a16:creationId xmlns:a16="http://schemas.microsoft.com/office/drawing/2014/main" id="{7D174604-FE5F-4813-8732-954C528C8290}"/>
              </a:ext>
            </a:extLst>
          </p:cNvPr>
          <p:cNvGrpSpPr/>
          <p:nvPr userDrawn="1"/>
        </p:nvGrpSpPr>
        <p:grpSpPr>
          <a:xfrm>
            <a:off x="-12032" y="0"/>
            <a:ext cx="12204032" cy="6858000"/>
            <a:chOff x="-12032" y="0"/>
            <a:chExt cx="12204032" cy="6858000"/>
          </a:xfrm>
          <a:solidFill>
            <a:schemeClr val="tx1">
              <a:alpha val="20000"/>
            </a:schemeClr>
          </a:solidFill>
        </p:grpSpPr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42A51D21-EADE-4E1A-925C-FB173B9687EA}"/>
                </a:ext>
              </a:extLst>
            </p:cNvPr>
            <p:cNvSpPr/>
            <p:nvPr userDrawn="1"/>
          </p:nvSpPr>
          <p:spPr>
            <a:xfrm>
              <a:off x="0" y="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1E53A6F8-19A1-4DCA-9378-1202A64CC9EE}"/>
                </a:ext>
              </a:extLst>
            </p:cNvPr>
            <p:cNvSpPr/>
            <p:nvPr userDrawn="1"/>
          </p:nvSpPr>
          <p:spPr>
            <a:xfrm>
              <a:off x="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8" name="Rechthoek 107">
              <a:extLst>
                <a:ext uri="{FF2B5EF4-FFF2-40B4-BE49-F238E27FC236}">
                  <a16:creationId xmlns:a16="http://schemas.microsoft.com/office/drawing/2014/main" id="{EF477EAB-3AAB-489A-8B40-2617F00D944B}"/>
                </a:ext>
              </a:extLst>
            </p:cNvPr>
            <p:cNvSpPr/>
            <p:nvPr userDrawn="1"/>
          </p:nvSpPr>
          <p:spPr>
            <a:xfrm>
              <a:off x="1161600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E32858EC-9757-4F87-8E68-2E0A538BFF7A}"/>
                </a:ext>
              </a:extLst>
            </p:cNvPr>
            <p:cNvSpPr/>
            <p:nvPr userDrawn="1"/>
          </p:nvSpPr>
          <p:spPr>
            <a:xfrm>
              <a:off x="0" y="1227241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4A34094A-73F0-47BE-935E-8302DA4E0F6E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1" name="Rechthoek 110">
              <a:extLst>
                <a:ext uri="{FF2B5EF4-FFF2-40B4-BE49-F238E27FC236}">
                  <a16:creationId xmlns:a16="http://schemas.microsoft.com/office/drawing/2014/main" id="{4817BD70-983D-4F15-8C97-FDD7DA7D952A}"/>
                </a:ext>
              </a:extLst>
            </p:cNvPr>
            <p:cNvSpPr/>
            <p:nvPr userDrawn="1"/>
          </p:nvSpPr>
          <p:spPr>
            <a:xfrm>
              <a:off x="-12032" y="562646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0E36A908-5AC8-4999-875F-DA5D76447287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21FED529-B705-48AF-9500-877C1BA0E84C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4" name="Rechthoek 113">
              <a:extLst>
                <a:ext uri="{FF2B5EF4-FFF2-40B4-BE49-F238E27FC236}">
                  <a16:creationId xmlns:a16="http://schemas.microsoft.com/office/drawing/2014/main" id="{E5086412-09CE-4AD8-8F97-0E11DA4F1E25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5" name="Rechthoek 114">
              <a:extLst>
                <a:ext uri="{FF2B5EF4-FFF2-40B4-BE49-F238E27FC236}">
                  <a16:creationId xmlns:a16="http://schemas.microsoft.com/office/drawing/2014/main" id="{770B1A5F-1D9B-4DBD-BF67-9C12233D4C57}"/>
                </a:ext>
              </a:extLst>
            </p:cNvPr>
            <p:cNvSpPr/>
            <p:nvPr userDrawn="1"/>
          </p:nvSpPr>
          <p:spPr>
            <a:xfrm>
              <a:off x="0" y="628200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D8CAB18A-C6CC-485C-9315-45590F672687}"/>
                </a:ext>
              </a:extLst>
            </p:cNvPr>
            <p:cNvSpPr/>
            <p:nvPr userDrawn="1"/>
          </p:nvSpPr>
          <p:spPr>
            <a:xfrm>
              <a:off x="574675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pic>
        <p:nvPicPr>
          <p:cNvPr id="118" name="LOGO">
            <a:extLst>
              <a:ext uri="{FF2B5EF4-FFF2-40B4-BE49-F238E27FC236}">
                <a16:creationId xmlns:a16="http://schemas.microsoft.com/office/drawing/2014/main" id="{FB70A35B-491F-4797-A00B-1664EDF8E7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8004" y="45291"/>
            <a:ext cx="2643570" cy="127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34729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ILIG WERKEN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3D8A1C1D-5B10-4C2E-904B-08AB5586735A}"/>
              </a:ext>
            </a:extLst>
          </p:cNvPr>
          <p:cNvSpPr/>
          <p:nvPr userDrawn="1"/>
        </p:nvSpPr>
        <p:spPr>
          <a:xfrm>
            <a:off x="288000" y="1388727"/>
            <a:ext cx="11603963" cy="51876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 err="1"/>
          </a:p>
        </p:txBody>
      </p:sp>
      <p:grpSp>
        <p:nvGrpSpPr>
          <p:cNvPr id="16" name="GRID" hidden="1">
            <a:extLst>
              <a:ext uri="{FF2B5EF4-FFF2-40B4-BE49-F238E27FC236}">
                <a16:creationId xmlns:a16="http://schemas.microsoft.com/office/drawing/2014/main" id="{F319575D-1BE1-4CB3-B193-D94E8A4B8396}"/>
              </a:ext>
            </a:extLst>
          </p:cNvPr>
          <p:cNvGrpSpPr/>
          <p:nvPr userDrawn="1"/>
        </p:nvGrpSpPr>
        <p:grpSpPr>
          <a:xfrm>
            <a:off x="-12032" y="-282911"/>
            <a:ext cx="12204032" cy="7140911"/>
            <a:chOff x="-12032" y="-282911"/>
            <a:chExt cx="12204032" cy="7140911"/>
          </a:xfrm>
          <a:solidFill>
            <a:schemeClr val="tx1">
              <a:alpha val="20000"/>
            </a:schemeClr>
          </a:solidFill>
        </p:grpSpPr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7C649C24-162B-490D-8309-BD7F6EE15027}"/>
                </a:ext>
              </a:extLst>
            </p:cNvPr>
            <p:cNvSpPr/>
            <p:nvPr userDrawn="1"/>
          </p:nvSpPr>
          <p:spPr>
            <a:xfrm>
              <a:off x="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445FCC4D-302E-4BB9-927E-5C2398704AFC}"/>
                </a:ext>
              </a:extLst>
            </p:cNvPr>
            <p:cNvSpPr/>
            <p:nvPr userDrawn="1"/>
          </p:nvSpPr>
          <p:spPr>
            <a:xfrm>
              <a:off x="1147200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0" name="Rechthoek 19">
              <a:extLst>
                <a:ext uri="{FF2B5EF4-FFF2-40B4-BE49-F238E27FC236}">
                  <a16:creationId xmlns:a16="http://schemas.microsoft.com/office/drawing/2014/main" id="{1923E5DD-D56D-4CFB-A6A6-87D109588BB5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9B0E07BB-1FFD-4488-B5AB-558B1FF16B4E}"/>
                </a:ext>
              </a:extLst>
            </p:cNvPr>
            <p:cNvSpPr/>
            <p:nvPr userDrawn="1"/>
          </p:nvSpPr>
          <p:spPr>
            <a:xfrm>
              <a:off x="-12032" y="588015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E9B85FCB-6306-4E69-91B3-71D72DB96105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3F0BAFD4-6239-4D39-93E5-82E9E854540E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307091EB-1C56-4470-9F6C-E9F091A2EAD4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2C450DB-83CF-4EEC-926D-36621FBB62EF}"/>
                </a:ext>
              </a:extLst>
            </p:cNvPr>
            <p:cNvSpPr/>
            <p:nvPr userDrawn="1"/>
          </p:nvSpPr>
          <p:spPr>
            <a:xfrm>
              <a:off x="0" y="1063256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7" name="Rechthoek 26">
              <a:extLst>
                <a:ext uri="{FF2B5EF4-FFF2-40B4-BE49-F238E27FC236}">
                  <a16:creationId xmlns:a16="http://schemas.microsoft.com/office/drawing/2014/main" id="{377F1DB8-82CD-4686-BCE7-96BB962F0D09}"/>
                </a:ext>
              </a:extLst>
            </p:cNvPr>
            <p:cNvSpPr/>
            <p:nvPr userDrawn="1"/>
          </p:nvSpPr>
          <p:spPr>
            <a:xfrm rot="2700000">
              <a:off x="8741900" y="625281"/>
              <a:ext cx="2104384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grpSp>
        <p:nvGrpSpPr>
          <p:cNvPr id="175" name="GRID" hidden="1">
            <a:extLst>
              <a:ext uri="{FF2B5EF4-FFF2-40B4-BE49-F238E27FC236}">
                <a16:creationId xmlns:a16="http://schemas.microsoft.com/office/drawing/2014/main" id="{CA6A9B3F-40D6-46B3-A74D-498355D95E3F}"/>
              </a:ext>
            </a:extLst>
          </p:cNvPr>
          <p:cNvGrpSpPr/>
          <p:nvPr userDrawn="1"/>
        </p:nvGrpSpPr>
        <p:grpSpPr>
          <a:xfrm>
            <a:off x="-12032" y="0"/>
            <a:ext cx="12204032" cy="6858000"/>
            <a:chOff x="-12032" y="0"/>
            <a:chExt cx="12204032" cy="6858000"/>
          </a:xfrm>
          <a:solidFill>
            <a:schemeClr val="tx1">
              <a:alpha val="20000"/>
            </a:schemeClr>
          </a:solidFill>
        </p:grpSpPr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F62F0052-6DA4-4CBF-A32B-103D5CD5BF38}"/>
                </a:ext>
              </a:extLst>
            </p:cNvPr>
            <p:cNvSpPr/>
            <p:nvPr userDrawn="1"/>
          </p:nvSpPr>
          <p:spPr>
            <a:xfrm>
              <a:off x="0" y="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77" name="Rechthoek 176">
              <a:extLst>
                <a:ext uri="{FF2B5EF4-FFF2-40B4-BE49-F238E27FC236}">
                  <a16:creationId xmlns:a16="http://schemas.microsoft.com/office/drawing/2014/main" id="{AA06759C-9882-4BD0-8135-F36FF8AA543B}"/>
                </a:ext>
              </a:extLst>
            </p:cNvPr>
            <p:cNvSpPr/>
            <p:nvPr userDrawn="1"/>
          </p:nvSpPr>
          <p:spPr>
            <a:xfrm>
              <a:off x="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B7095DA1-8606-456F-8F5F-241C28CE4660}"/>
                </a:ext>
              </a:extLst>
            </p:cNvPr>
            <p:cNvSpPr/>
            <p:nvPr userDrawn="1"/>
          </p:nvSpPr>
          <p:spPr>
            <a:xfrm>
              <a:off x="1161600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79" name="Rechthoek 178">
              <a:extLst>
                <a:ext uri="{FF2B5EF4-FFF2-40B4-BE49-F238E27FC236}">
                  <a16:creationId xmlns:a16="http://schemas.microsoft.com/office/drawing/2014/main" id="{17889CC4-5974-4093-BFDB-9D4C254D963F}"/>
                </a:ext>
              </a:extLst>
            </p:cNvPr>
            <p:cNvSpPr/>
            <p:nvPr userDrawn="1"/>
          </p:nvSpPr>
          <p:spPr>
            <a:xfrm>
              <a:off x="0" y="1564331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E23E0F9B-9515-45AD-9457-6DBA501FE8CF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1" name="Rechthoek 180">
              <a:extLst>
                <a:ext uri="{FF2B5EF4-FFF2-40B4-BE49-F238E27FC236}">
                  <a16:creationId xmlns:a16="http://schemas.microsoft.com/office/drawing/2014/main" id="{BA037040-AE76-4188-A914-6054A6F07307}"/>
                </a:ext>
              </a:extLst>
            </p:cNvPr>
            <p:cNvSpPr/>
            <p:nvPr userDrawn="1"/>
          </p:nvSpPr>
          <p:spPr>
            <a:xfrm>
              <a:off x="-12032" y="562646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B57F10AC-6A61-46E8-8123-50FA04F99E88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F8A54643-D40F-4924-A10B-279198E12338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AAC471D0-20E5-4B64-9278-F91CE7F15DF0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5" name="Rechthoek 184">
              <a:extLst>
                <a:ext uri="{FF2B5EF4-FFF2-40B4-BE49-F238E27FC236}">
                  <a16:creationId xmlns:a16="http://schemas.microsoft.com/office/drawing/2014/main" id="{2EBF5C2F-3072-4421-AC10-FFB75AE5729F}"/>
                </a:ext>
              </a:extLst>
            </p:cNvPr>
            <p:cNvSpPr/>
            <p:nvPr userDrawn="1"/>
          </p:nvSpPr>
          <p:spPr>
            <a:xfrm>
              <a:off x="0" y="628200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sp>
        <p:nvSpPr>
          <p:cNvPr id="86" name="Tijdelijke aanduiding voor tekst 2">
            <a:extLst>
              <a:ext uri="{FF2B5EF4-FFF2-40B4-BE49-F238E27FC236}">
                <a16:creationId xmlns:a16="http://schemas.microsoft.com/office/drawing/2014/main" id="{EAF81E43-0A3B-47FB-A80E-EC99E7671D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562800"/>
            <a:ext cx="12193200" cy="2952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 dirty="0"/>
              <a:t>    </a:t>
            </a:r>
          </a:p>
        </p:txBody>
      </p:sp>
      <p:sp>
        <p:nvSpPr>
          <p:cNvPr id="85" name="Tijdelijke aanduiding voor voettekst 4">
            <a:extLst>
              <a:ext uri="{FF2B5EF4-FFF2-40B4-BE49-F238E27FC236}">
                <a16:creationId xmlns:a16="http://schemas.microsoft.com/office/drawing/2014/main" id="{BB94662C-E490-40C7-A8CE-6910225FDE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4051" y="6656739"/>
            <a:ext cx="4114800" cy="1073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87" name="Tijdelijke aanduiding voor dianummer 5">
            <a:extLst>
              <a:ext uri="{FF2B5EF4-FFF2-40B4-BE49-F238E27FC236}">
                <a16:creationId xmlns:a16="http://schemas.microsoft.com/office/drawing/2014/main" id="{F4BF8EFB-2FD2-4BE5-85A4-13ADE9AED9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0553" y="6656739"/>
            <a:ext cx="284597" cy="1073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 b="1">
                <a:solidFill>
                  <a:schemeClr val="accent1"/>
                </a:solidFill>
                <a:latin typeface="+mn-lt"/>
              </a:defRPr>
            </a:lvl1pPr>
          </a:lstStyle>
          <a:p>
            <a:fld id="{D7B5DC5B-6873-43DB-ADC7-B15ACCE0DFDB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251" name="Titel 3">
            <a:extLst>
              <a:ext uri="{FF2B5EF4-FFF2-40B4-BE49-F238E27FC236}">
                <a16:creationId xmlns:a16="http://schemas.microsoft.com/office/drawing/2014/main" id="{217B1824-C97A-4A1F-9E4F-0075EA5A87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0124" y="302833"/>
            <a:ext cx="8280000" cy="60045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>
              <a:defRPr lang="nl-NL" sz="2800" b="1" dirty="0">
                <a:solidFill>
                  <a:srgbClr val="635D63"/>
                </a:solidFill>
              </a:defRPr>
            </a:lvl1pPr>
          </a:lstStyle>
          <a:p>
            <a:pPr lvl="0"/>
            <a:r>
              <a:rPr lang="nl-NL" noProof="0" dirty="0"/>
              <a:t>Plaats de titel van de dia hier</a:t>
            </a:r>
            <a:endParaRPr lang="nl-NL" dirty="0"/>
          </a:p>
        </p:txBody>
      </p:sp>
      <p:pic>
        <p:nvPicPr>
          <p:cNvPr id="266" name="Afbeelding 265">
            <a:extLst>
              <a:ext uri="{FF2B5EF4-FFF2-40B4-BE49-F238E27FC236}">
                <a16:creationId xmlns:a16="http://schemas.microsoft.com/office/drawing/2014/main" id="{1890ECE4-530A-43D9-B35F-44A113EF2A2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44" t="36321" b="35981"/>
          <a:stretch/>
        </p:blipFill>
        <p:spPr>
          <a:xfrm>
            <a:off x="0" y="281580"/>
            <a:ext cx="927938" cy="627125"/>
          </a:xfrm>
          <a:custGeom>
            <a:avLst/>
            <a:gdLst>
              <a:gd name="connsiteX0" fmla="*/ 0 w 927938"/>
              <a:gd name="connsiteY0" fmla="*/ 0 h 627125"/>
              <a:gd name="connsiteX1" fmla="*/ 927938 w 927938"/>
              <a:gd name="connsiteY1" fmla="*/ 0 h 627125"/>
              <a:gd name="connsiteX2" fmla="*/ 927938 w 927938"/>
              <a:gd name="connsiteY2" fmla="*/ 627125 h 627125"/>
              <a:gd name="connsiteX3" fmla="*/ 0 w 927938"/>
              <a:gd name="connsiteY3" fmla="*/ 627125 h 627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7938" h="627125">
                <a:moveTo>
                  <a:pt x="0" y="0"/>
                </a:moveTo>
                <a:lnTo>
                  <a:pt x="927938" y="0"/>
                </a:lnTo>
                <a:lnTo>
                  <a:pt x="927938" y="627125"/>
                </a:lnTo>
                <a:lnTo>
                  <a:pt x="0" y="627125"/>
                </a:lnTo>
                <a:close/>
              </a:path>
            </a:pathLst>
          </a:cu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7E964BC-BED8-5045-9072-EC609DDDF304}"/>
              </a:ext>
            </a:extLst>
          </p:cNvPr>
          <p:cNvSpPr txBox="1"/>
          <p:nvPr userDrawn="1"/>
        </p:nvSpPr>
        <p:spPr>
          <a:xfrm>
            <a:off x="12666133" y="574886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NL" sz="1600" dirty="0" err="1"/>
          </a:p>
        </p:txBody>
      </p:sp>
    </p:spTree>
    <p:extLst>
      <p:ext uri="{BB962C8B-B14F-4D97-AF65-F5344CB8AC3E}">
        <p14:creationId xmlns:p14="http://schemas.microsoft.com/office/powerpoint/2010/main" val="1216357836"/>
      </p:ext>
    </p:extLst>
  </p:cSld>
  <p:clrMapOvr>
    <a:masterClrMapping/>
  </p:clrMapOvr>
  <p:transition spd="slow">
    <p:strips dir="rd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ILIG WERKEN GRIJ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3D8A1C1D-5B10-4C2E-904B-08AB5586735A}"/>
              </a:ext>
            </a:extLst>
          </p:cNvPr>
          <p:cNvSpPr/>
          <p:nvPr userDrawn="1"/>
        </p:nvSpPr>
        <p:spPr>
          <a:xfrm>
            <a:off x="288000" y="1388727"/>
            <a:ext cx="11603963" cy="5187693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 err="1"/>
          </a:p>
        </p:txBody>
      </p:sp>
      <p:grpSp>
        <p:nvGrpSpPr>
          <p:cNvPr id="16" name="GRID" hidden="1">
            <a:extLst>
              <a:ext uri="{FF2B5EF4-FFF2-40B4-BE49-F238E27FC236}">
                <a16:creationId xmlns:a16="http://schemas.microsoft.com/office/drawing/2014/main" id="{F319575D-1BE1-4CB3-B193-D94E8A4B8396}"/>
              </a:ext>
            </a:extLst>
          </p:cNvPr>
          <p:cNvGrpSpPr/>
          <p:nvPr userDrawn="1"/>
        </p:nvGrpSpPr>
        <p:grpSpPr>
          <a:xfrm>
            <a:off x="-12032" y="-282911"/>
            <a:ext cx="12204032" cy="7140911"/>
            <a:chOff x="-12032" y="-282911"/>
            <a:chExt cx="12204032" cy="7140911"/>
          </a:xfrm>
          <a:solidFill>
            <a:schemeClr val="tx1">
              <a:alpha val="20000"/>
            </a:schemeClr>
          </a:solidFill>
        </p:grpSpPr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7C649C24-162B-490D-8309-BD7F6EE15027}"/>
                </a:ext>
              </a:extLst>
            </p:cNvPr>
            <p:cNvSpPr/>
            <p:nvPr userDrawn="1"/>
          </p:nvSpPr>
          <p:spPr>
            <a:xfrm>
              <a:off x="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445FCC4D-302E-4BB9-927E-5C2398704AFC}"/>
                </a:ext>
              </a:extLst>
            </p:cNvPr>
            <p:cNvSpPr/>
            <p:nvPr userDrawn="1"/>
          </p:nvSpPr>
          <p:spPr>
            <a:xfrm>
              <a:off x="1147200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0" name="Rechthoek 19">
              <a:extLst>
                <a:ext uri="{FF2B5EF4-FFF2-40B4-BE49-F238E27FC236}">
                  <a16:creationId xmlns:a16="http://schemas.microsoft.com/office/drawing/2014/main" id="{1923E5DD-D56D-4CFB-A6A6-87D109588BB5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9B0E07BB-1FFD-4488-B5AB-558B1FF16B4E}"/>
                </a:ext>
              </a:extLst>
            </p:cNvPr>
            <p:cNvSpPr/>
            <p:nvPr userDrawn="1"/>
          </p:nvSpPr>
          <p:spPr>
            <a:xfrm>
              <a:off x="-12032" y="588015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E9B85FCB-6306-4E69-91B3-71D72DB96105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3F0BAFD4-6239-4D39-93E5-82E9E854540E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307091EB-1C56-4470-9F6C-E9F091A2EAD4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2C450DB-83CF-4EEC-926D-36621FBB62EF}"/>
                </a:ext>
              </a:extLst>
            </p:cNvPr>
            <p:cNvSpPr/>
            <p:nvPr userDrawn="1"/>
          </p:nvSpPr>
          <p:spPr>
            <a:xfrm>
              <a:off x="0" y="1063256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7" name="Rechthoek 26">
              <a:extLst>
                <a:ext uri="{FF2B5EF4-FFF2-40B4-BE49-F238E27FC236}">
                  <a16:creationId xmlns:a16="http://schemas.microsoft.com/office/drawing/2014/main" id="{377F1DB8-82CD-4686-BCE7-96BB962F0D09}"/>
                </a:ext>
              </a:extLst>
            </p:cNvPr>
            <p:cNvSpPr/>
            <p:nvPr userDrawn="1"/>
          </p:nvSpPr>
          <p:spPr>
            <a:xfrm rot="2700000">
              <a:off x="8741900" y="625281"/>
              <a:ext cx="2104384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grpSp>
        <p:nvGrpSpPr>
          <p:cNvPr id="175" name="GRID" hidden="1">
            <a:extLst>
              <a:ext uri="{FF2B5EF4-FFF2-40B4-BE49-F238E27FC236}">
                <a16:creationId xmlns:a16="http://schemas.microsoft.com/office/drawing/2014/main" id="{CA6A9B3F-40D6-46B3-A74D-498355D95E3F}"/>
              </a:ext>
            </a:extLst>
          </p:cNvPr>
          <p:cNvGrpSpPr/>
          <p:nvPr userDrawn="1"/>
        </p:nvGrpSpPr>
        <p:grpSpPr>
          <a:xfrm>
            <a:off x="-12032" y="0"/>
            <a:ext cx="12204032" cy="6858000"/>
            <a:chOff x="-12032" y="0"/>
            <a:chExt cx="12204032" cy="6858000"/>
          </a:xfrm>
          <a:solidFill>
            <a:schemeClr val="tx1">
              <a:alpha val="20000"/>
            </a:schemeClr>
          </a:solidFill>
        </p:grpSpPr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F62F0052-6DA4-4CBF-A32B-103D5CD5BF38}"/>
                </a:ext>
              </a:extLst>
            </p:cNvPr>
            <p:cNvSpPr/>
            <p:nvPr userDrawn="1"/>
          </p:nvSpPr>
          <p:spPr>
            <a:xfrm>
              <a:off x="0" y="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77" name="Rechthoek 176">
              <a:extLst>
                <a:ext uri="{FF2B5EF4-FFF2-40B4-BE49-F238E27FC236}">
                  <a16:creationId xmlns:a16="http://schemas.microsoft.com/office/drawing/2014/main" id="{AA06759C-9882-4BD0-8135-F36FF8AA543B}"/>
                </a:ext>
              </a:extLst>
            </p:cNvPr>
            <p:cNvSpPr/>
            <p:nvPr userDrawn="1"/>
          </p:nvSpPr>
          <p:spPr>
            <a:xfrm>
              <a:off x="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B7095DA1-8606-456F-8F5F-241C28CE4660}"/>
                </a:ext>
              </a:extLst>
            </p:cNvPr>
            <p:cNvSpPr/>
            <p:nvPr userDrawn="1"/>
          </p:nvSpPr>
          <p:spPr>
            <a:xfrm>
              <a:off x="1161600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79" name="Rechthoek 178">
              <a:extLst>
                <a:ext uri="{FF2B5EF4-FFF2-40B4-BE49-F238E27FC236}">
                  <a16:creationId xmlns:a16="http://schemas.microsoft.com/office/drawing/2014/main" id="{17889CC4-5974-4093-BFDB-9D4C254D963F}"/>
                </a:ext>
              </a:extLst>
            </p:cNvPr>
            <p:cNvSpPr/>
            <p:nvPr userDrawn="1"/>
          </p:nvSpPr>
          <p:spPr>
            <a:xfrm>
              <a:off x="0" y="1564331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E23E0F9B-9515-45AD-9457-6DBA501FE8CF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1" name="Rechthoek 180">
              <a:extLst>
                <a:ext uri="{FF2B5EF4-FFF2-40B4-BE49-F238E27FC236}">
                  <a16:creationId xmlns:a16="http://schemas.microsoft.com/office/drawing/2014/main" id="{BA037040-AE76-4188-A914-6054A6F07307}"/>
                </a:ext>
              </a:extLst>
            </p:cNvPr>
            <p:cNvSpPr/>
            <p:nvPr userDrawn="1"/>
          </p:nvSpPr>
          <p:spPr>
            <a:xfrm>
              <a:off x="-12032" y="562646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B57F10AC-6A61-46E8-8123-50FA04F99E88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F8A54643-D40F-4924-A10B-279198E12338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AAC471D0-20E5-4B64-9278-F91CE7F15DF0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5" name="Rechthoek 184">
              <a:extLst>
                <a:ext uri="{FF2B5EF4-FFF2-40B4-BE49-F238E27FC236}">
                  <a16:creationId xmlns:a16="http://schemas.microsoft.com/office/drawing/2014/main" id="{2EBF5C2F-3072-4421-AC10-FFB75AE5729F}"/>
                </a:ext>
              </a:extLst>
            </p:cNvPr>
            <p:cNvSpPr/>
            <p:nvPr userDrawn="1"/>
          </p:nvSpPr>
          <p:spPr>
            <a:xfrm>
              <a:off x="0" y="628200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sp>
        <p:nvSpPr>
          <p:cNvPr id="86" name="Tijdelijke aanduiding voor tekst 2">
            <a:extLst>
              <a:ext uri="{FF2B5EF4-FFF2-40B4-BE49-F238E27FC236}">
                <a16:creationId xmlns:a16="http://schemas.microsoft.com/office/drawing/2014/main" id="{EAF81E43-0A3B-47FB-A80E-EC99E7671D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562800"/>
            <a:ext cx="12193200" cy="2952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 dirty="0"/>
              <a:t>    </a:t>
            </a:r>
          </a:p>
        </p:txBody>
      </p:sp>
      <p:sp>
        <p:nvSpPr>
          <p:cNvPr id="251" name="Titel 3">
            <a:extLst>
              <a:ext uri="{FF2B5EF4-FFF2-40B4-BE49-F238E27FC236}">
                <a16:creationId xmlns:a16="http://schemas.microsoft.com/office/drawing/2014/main" id="{217B1824-C97A-4A1F-9E4F-0075EA5A87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0124" y="302833"/>
            <a:ext cx="8280000" cy="60045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>
              <a:defRPr lang="nl-NL" sz="2800" b="1" dirty="0">
                <a:solidFill>
                  <a:srgbClr val="635D63"/>
                </a:solidFill>
              </a:defRPr>
            </a:lvl1pPr>
          </a:lstStyle>
          <a:p>
            <a:pPr lvl="0"/>
            <a:r>
              <a:rPr lang="nl-NL" noProof="0" dirty="0"/>
              <a:t>Plaats de titel van de dia hier</a:t>
            </a:r>
            <a:endParaRPr lang="nl-NL" dirty="0"/>
          </a:p>
        </p:txBody>
      </p:sp>
      <p:pic>
        <p:nvPicPr>
          <p:cNvPr id="266" name="Afbeelding 265">
            <a:extLst>
              <a:ext uri="{FF2B5EF4-FFF2-40B4-BE49-F238E27FC236}">
                <a16:creationId xmlns:a16="http://schemas.microsoft.com/office/drawing/2014/main" id="{1890ECE4-530A-43D9-B35F-44A113EF2A2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44" t="36321" b="35981"/>
          <a:stretch/>
        </p:blipFill>
        <p:spPr>
          <a:xfrm>
            <a:off x="0" y="281580"/>
            <a:ext cx="927938" cy="627125"/>
          </a:xfrm>
          <a:custGeom>
            <a:avLst/>
            <a:gdLst>
              <a:gd name="connsiteX0" fmla="*/ 0 w 927938"/>
              <a:gd name="connsiteY0" fmla="*/ 0 h 627125"/>
              <a:gd name="connsiteX1" fmla="*/ 927938 w 927938"/>
              <a:gd name="connsiteY1" fmla="*/ 0 h 627125"/>
              <a:gd name="connsiteX2" fmla="*/ 927938 w 927938"/>
              <a:gd name="connsiteY2" fmla="*/ 627125 h 627125"/>
              <a:gd name="connsiteX3" fmla="*/ 0 w 927938"/>
              <a:gd name="connsiteY3" fmla="*/ 627125 h 627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7938" h="627125">
                <a:moveTo>
                  <a:pt x="0" y="0"/>
                </a:moveTo>
                <a:lnTo>
                  <a:pt x="927938" y="0"/>
                </a:lnTo>
                <a:lnTo>
                  <a:pt x="927938" y="627125"/>
                </a:lnTo>
                <a:lnTo>
                  <a:pt x="0" y="627125"/>
                </a:lnTo>
                <a:close/>
              </a:path>
            </a:pathLst>
          </a:custGeom>
        </p:spPr>
      </p:pic>
      <p:sp>
        <p:nvSpPr>
          <p:cNvPr id="101" name="Tijdelijke aanduiding voor voettekst 4">
            <a:extLst>
              <a:ext uri="{FF2B5EF4-FFF2-40B4-BE49-F238E27FC236}">
                <a16:creationId xmlns:a16="http://schemas.microsoft.com/office/drawing/2014/main" id="{430DFE37-966D-404C-B1C9-28F916F13B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4051" y="6656739"/>
            <a:ext cx="4114800" cy="1073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102" name="Tijdelijke aanduiding voor dianummer 5">
            <a:extLst>
              <a:ext uri="{FF2B5EF4-FFF2-40B4-BE49-F238E27FC236}">
                <a16:creationId xmlns:a16="http://schemas.microsoft.com/office/drawing/2014/main" id="{03D34656-B4A2-FF4A-ACB6-425EC11A7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0553" y="6656739"/>
            <a:ext cx="284597" cy="1073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 b="1">
                <a:solidFill>
                  <a:schemeClr val="accent1"/>
                </a:solidFill>
                <a:latin typeface="+mn-lt"/>
              </a:defRPr>
            </a:lvl1pPr>
          </a:lstStyle>
          <a:p>
            <a:fld id="{D7B5DC5B-6873-43DB-ADC7-B15ACCE0DFDB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14486613"/>
      </p:ext>
    </p:extLst>
  </p:cSld>
  <p:clrMapOvr>
    <a:masterClrMapping/>
  </p:clrMapOvr>
  <p:transition spd="slow">
    <p:strips dir="rd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ID" hidden="1">
            <a:extLst>
              <a:ext uri="{FF2B5EF4-FFF2-40B4-BE49-F238E27FC236}">
                <a16:creationId xmlns:a16="http://schemas.microsoft.com/office/drawing/2014/main" id="{F319575D-1BE1-4CB3-B193-D94E8A4B8396}"/>
              </a:ext>
            </a:extLst>
          </p:cNvPr>
          <p:cNvGrpSpPr/>
          <p:nvPr userDrawn="1"/>
        </p:nvGrpSpPr>
        <p:grpSpPr>
          <a:xfrm>
            <a:off x="-12032" y="-282911"/>
            <a:ext cx="12204032" cy="7140911"/>
            <a:chOff x="-12032" y="-282911"/>
            <a:chExt cx="12204032" cy="7140911"/>
          </a:xfrm>
          <a:solidFill>
            <a:schemeClr val="tx1">
              <a:alpha val="20000"/>
            </a:schemeClr>
          </a:solidFill>
        </p:grpSpPr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7C649C24-162B-490D-8309-BD7F6EE15027}"/>
                </a:ext>
              </a:extLst>
            </p:cNvPr>
            <p:cNvSpPr/>
            <p:nvPr userDrawn="1"/>
          </p:nvSpPr>
          <p:spPr>
            <a:xfrm>
              <a:off x="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445FCC4D-302E-4BB9-927E-5C2398704AFC}"/>
                </a:ext>
              </a:extLst>
            </p:cNvPr>
            <p:cNvSpPr/>
            <p:nvPr userDrawn="1"/>
          </p:nvSpPr>
          <p:spPr>
            <a:xfrm>
              <a:off x="1147200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0" name="Rechthoek 19">
              <a:extLst>
                <a:ext uri="{FF2B5EF4-FFF2-40B4-BE49-F238E27FC236}">
                  <a16:creationId xmlns:a16="http://schemas.microsoft.com/office/drawing/2014/main" id="{1923E5DD-D56D-4CFB-A6A6-87D109588BB5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9B0E07BB-1FFD-4488-B5AB-558B1FF16B4E}"/>
                </a:ext>
              </a:extLst>
            </p:cNvPr>
            <p:cNvSpPr/>
            <p:nvPr userDrawn="1"/>
          </p:nvSpPr>
          <p:spPr>
            <a:xfrm>
              <a:off x="-12032" y="588015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E9B85FCB-6306-4E69-91B3-71D72DB96105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3F0BAFD4-6239-4D39-93E5-82E9E854540E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307091EB-1C56-4470-9F6C-E9F091A2EAD4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2C450DB-83CF-4EEC-926D-36621FBB62EF}"/>
                </a:ext>
              </a:extLst>
            </p:cNvPr>
            <p:cNvSpPr/>
            <p:nvPr userDrawn="1"/>
          </p:nvSpPr>
          <p:spPr>
            <a:xfrm>
              <a:off x="0" y="1063256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7" name="Rechthoek 26">
              <a:extLst>
                <a:ext uri="{FF2B5EF4-FFF2-40B4-BE49-F238E27FC236}">
                  <a16:creationId xmlns:a16="http://schemas.microsoft.com/office/drawing/2014/main" id="{377F1DB8-82CD-4686-BCE7-96BB962F0D09}"/>
                </a:ext>
              </a:extLst>
            </p:cNvPr>
            <p:cNvSpPr/>
            <p:nvPr userDrawn="1"/>
          </p:nvSpPr>
          <p:spPr>
            <a:xfrm rot="2700000">
              <a:off x="8741900" y="625281"/>
              <a:ext cx="2104384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grpSp>
        <p:nvGrpSpPr>
          <p:cNvPr id="175" name="GRID" hidden="1">
            <a:extLst>
              <a:ext uri="{FF2B5EF4-FFF2-40B4-BE49-F238E27FC236}">
                <a16:creationId xmlns:a16="http://schemas.microsoft.com/office/drawing/2014/main" id="{CA6A9B3F-40D6-46B3-A74D-498355D95E3F}"/>
              </a:ext>
            </a:extLst>
          </p:cNvPr>
          <p:cNvGrpSpPr/>
          <p:nvPr userDrawn="1"/>
        </p:nvGrpSpPr>
        <p:grpSpPr>
          <a:xfrm>
            <a:off x="-12032" y="0"/>
            <a:ext cx="12204032" cy="6858000"/>
            <a:chOff x="-12032" y="0"/>
            <a:chExt cx="12204032" cy="6858000"/>
          </a:xfrm>
          <a:solidFill>
            <a:schemeClr val="tx1">
              <a:alpha val="20000"/>
            </a:schemeClr>
          </a:solidFill>
        </p:grpSpPr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F62F0052-6DA4-4CBF-A32B-103D5CD5BF38}"/>
                </a:ext>
              </a:extLst>
            </p:cNvPr>
            <p:cNvSpPr/>
            <p:nvPr userDrawn="1"/>
          </p:nvSpPr>
          <p:spPr>
            <a:xfrm>
              <a:off x="0" y="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77" name="Rechthoek 176">
              <a:extLst>
                <a:ext uri="{FF2B5EF4-FFF2-40B4-BE49-F238E27FC236}">
                  <a16:creationId xmlns:a16="http://schemas.microsoft.com/office/drawing/2014/main" id="{AA06759C-9882-4BD0-8135-F36FF8AA543B}"/>
                </a:ext>
              </a:extLst>
            </p:cNvPr>
            <p:cNvSpPr/>
            <p:nvPr userDrawn="1"/>
          </p:nvSpPr>
          <p:spPr>
            <a:xfrm>
              <a:off x="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B7095DA1-8606-456F-8F5F-241C28CE4660}"/>
                </a:ext>
              </a:extLst>
            </p:cNvPr>
            <p:cNvSpPr/>
            <p:nvPr userDrawn="1"/>
          </p:nvSpPr>
          <p:spPr>
            <a:xfrm>
              <a:off x="1161600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79" name="Rechthoek 178">
              <a:extLst>
                <a:ext uri="{FF2B5EF4-FFF2-40B4-BE49-F238E27FC236}">
                  <a16:creationId xmlns:a16="http://schemas.microsoft.com/office/drawing/2014/main" id="{17889CC4-5974-4093-BFDB-9D4C254D963F}"/>
                </a:ext>
              </a:extLst>
            </p:cNvPr>
            <p:cNvSpPr/>
            <p:nvPr userDrawn="1"/>
          </p:nvSpPr>
          <p:spPr>
            <a:xfrm>
              <a:off x="0" y="1564331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E23E0F9B-9515-45AD-9457-6DBA501FE8CF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1" name="Rechthoek 180">
              <a:extLst>
                <a:ext uri="{FF2B5EF4-FFF2-40B4-BE49-F238E27FC236}">
                  <a16:creationId xmlns:a16="http://schemas.microsoft.com/office/drawing/2014/main" id="{BA037040-AE76-4188-A914-6054A6F07307}"/>
                </a:ext>
              </a:extLst>
            </p:cNvPr>
            <p:cNvSpPr/>
            <p:nvPr userDrawn="1"/>
          </p:nvSpPr>
          <p:spPr>
            <a:xfrm>
              <a:off x="-12032" y="562646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B57F10AC-6A61-46E8-8123-50FA04F99E88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F8A54643-D40F-4924-A10B-279198E12338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AAC471D0-20E5-4B64-9278-F91CE7F15DF0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5" name="Rechthoek 184">
              <a:extLst>
                <a:ext uri="{FF2B5EF4-FFF2-40B4-BE49-F238E27FC236}">
                  <a16:creationId xmlns:a16="http://schemas.microsoft.com/office/drawing/2014/main" id="{2EBF5C2F-3072-4421-AC10-FFB75AE5729F}"/>
                </a:ext>
              </a:extLst>
            </p:cNvPr>
            <p:cNvSpPr/>
            <p:nvPr userDrawn="1"/>
          </p:nvSpPr>
          <p:spPr>
            <a:xfrm>
              <a:off x="0" y="628200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sp>
        <p:nvSpPr>
          <p:cNvPr id="274" name="Titel 3">
            <a:extLst>
              <a:ext uri="{FF2B5EF4-FFF2-40B4-BE49-F238E27FC236}">
                <a16:creationId xmlns:a16="http://schemas.microsoft.com/office/drawing/2014/main" id="{ECE1733F-D78E-4AEA-B34A-D48EBAD142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0124" y="302833"/>
            <a:ext cx="8280000" cy="60045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>
              <a:defRPr lang="nl-NL" sz="2800" b="1" dirty="0">
                <a:solidFill>
                  <a:srgbClr val="635D63"/>
                </a:solidFill>
              </a:defRPr>
            </a:lvl1pPr>
          </a:lstStyle>
          <a:p>
            <a:pPr lvl="0"/>
            <a:r>
              <a:rPr lang="nl-NL" noProof="0" dirty="0"/>
              <a:t>Plaats de titel van de dia hier</a:t>
            </a:r>
            <a:endParaRPr lang="nl-NL" dirty="0"/>
          </a:p>
        </p:txBody>
      </p:sp>
      <p:pic>
        <p:nvPicPr>
          <p:cNvPr id="275" name="Afbeelding 274">
            <a:extLst>
              <a:ext uri="{FF2B5EF4-FFF2-40B4-BE49-F238E27FC236}">
                <a16:creationId xmlns:a16="http://schemas.microsoft.com/office/drawing/2014/main" id="{20C6AFC9-F1E5-47B3-8825-9E5EE0A66C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44" t="36321" b="35981"/>
          <a:stretch/>
        </p:blipFill>
        <p:spPr>
          <a:xfrm>
            <a:off x="0" y="281580"/>
            <a:ext cx="927938" cy="627125"/>
          </a:xfrm>
          <a:custGeom>
            <a:avLst/>
            <a:gdLst>
              <a:gd name="connsiteX0" fmla="*/ 0 w 927938"/>
              <a:gd name="connsiteY0" fmla="*/ 0 h 627125"/>
              <a:gd name="connsiteX1" fmla="*/ 927938 w 927938"/>
              <a:gd name="connsiteY1" fmla="*/ 0 h 627125"/>
              <a:gd name="connsiteX2" fmla="*/ 927938 w 927938"/>
              <a:gd name="connsiteY2" fmla="*/ 627125 h 627125"/>
              <a:gd name="connsiteX3" fmla="*/ 0 w 927938"/>
              <a:gd name="connsiteY3" fmla="*/ 627125 h 627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7938" h="627125">
                <a:moveTo>
                  <a:pt x="0" y="0"/>
                </a:moveTo>
                <a:lnTo>
                  <a:pt x="927938" y="0"/>
                </a:lnTo>
                <a:lnTo>
                  <a:pt x="927938" y="627125"/>
                </a:lnTo>
                <a:lnTo>
                  <a:pt x="0" y="627125"/>
                </a:lnTo>
                <a:close/>
              </a:path>
            </a:pathLst>
          </a:custGeom>
        </p:spPr>
      </p:pic>
      <p:sp>
        <p:nvSpPr>
          <p:cNvPr id="276" name="Rechthoek 275">
            <a:extLst>
              <a:ext uri="{FF2B5EF4-FFF2-40B4-BE49-F238E27FC236}">
                <a16:creationId xmlns:a16="http://schemas.microsoft.com/office/drawing/2014/main" id="{7E84E703-CBF2-4543-A1ED-67E3C5415752}"/>
              </a:ext>
            </a:extLst>
          </p:cNvPr>
          <p:cNvSpPr/>
          <p:nvPr userDrawn="1"/>
        </p:nvSpPr>
        <p:spPr>
          <a:xfrm>
            <a:off x="288000" y="1388727"/>
            <a:ext cx="11603963" cy="51876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 err="1"/>
          </a:p>
        </p:txBody>
      </p:sp>
    </p:spTree>
    <p:extLst>
      <p:ext uri="{BB962C8B-B14F-4D97-AF65-F5344CB8AC3E}">
        <p14:creationId xmlns:p14="http://schemas.microsoft.com/office/powerpoint/2010/main" val="4000736310"/>
      </p:ext>
    </p:extLst>
  </p:cSld>
  <p:clrMapOvr>
    <a:masterClrMapping/>
  </p:clrMapOvr>
  <p:transition spd="slow">
    <p:strips dir="rd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IJ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ID" hidden="1">
            <a:extLst>
              <a:ext uri="{FF2B5EF4-FFF2-40B4-BE49-F238E27FC236}">
                <a16:creationId xmlns:a16="http://schemas.microsoft.com/office/drawing/2014/main" id="{F319575D-1BE1-4CB3-B193-D94E8A4B8396}"/>
              </a:ext>
            </a:extLst>
          </p:cNvPr>
          <p:cNvGrpSpPr/>
          <p:nvPr userDrawn="1"/>
        </p:nvGrpSpPr>
        <p:grpSpPr>
          <a:xfrm>
            <a:off x="-12032" y="-282911"/>
            <a:ext cx="12204032" cy="7140911"/>
            <a:chOff x="-12032" y="-282911"/>
            <a:chExt cx="12204032" cy="7140911"/>
          </a:xfrm>
          <a:solidFill>
            <a:schemeClr val="tx1">
              <a:alpha val="20000"/>
            </a:schemeClr>
          </a:solidFill>
        </p:grpSpPr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7C649C24-162B-490D-8309-BD7F6EE15027}"/>
                </a:ext>
              </a:extLst>
            </p:cNvPr>
            <p:cNvSpPr/>
            <p:nvPr userDrawn="1"/>
          </p:nvSpPr>
          <p:spPr>
            <a:xfrm>
              <a:off x="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445FCC4D-302E-4BB9-927E-5C2398704AFC}"/>
                </a:ext>
              </a:extLst>
            </p:cNvPr>
            <p:cNvSpPr/>
            <p:nvPr userDrawn="1"/>
          </p:nvSpPr>
          <p:spPr>
            <a:xfrm>
              <a:off x="1147200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0" name="Rechthoek 19">
              <a:extLst>
                <a:ext uri="{FF2B5EF4-FFF2-40B4-BE49-F238E27FC236}">
                  <a16:creationId xmlns:a16="http://schemas.microsoft.com/office/drawing/2014/main" id="{1923E5DD-D56D-4CFB-A6A6-87D109588BB5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9B0E07BB-1FFD-4488-B5AB-558B1FF16B4E}"/>
                </a:ext>
              </a:extLst>
            </p:cNvPr>
            <p:cNvSpPr/>
            <p:nvPr userDrawn="1"/>
          </p:nvSpPr>
          <p:spPr>
            <a:xfrm>
              <a:off x="-12032" y="588015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E9B85FCB-6306-4E69-91B3-71D72DB96105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3F0BAFD4-6239-4D39-93E5-82E9E854540E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307091EB-1C56-4470-9F6C-E9F091A2EAD4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2C450DB-83CF-4EEC-926D-36621FBB62EF}"/>
                </a:ext>
              </a:extLst>
            </p:cNvPr>
            <p:cNvSpPr/>
            <p:nvPr userDrawn="1"/>
          </p:nvSpPr>
          <p:spPr>
            <a:xfrm>
              <a:off x="0" y="1063256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7" name="Rechthoek 26">
              <a:extLst>
                <a:ext uri="{FF2B5EF4-FFF2-40B4-BE49-F238E27FC236}">
                  <a16:creationId xmlns:a16="http://schemas.microsoft.com/office/drawing/2014/main" id="{377F1DB8-82CD-4686-BCE7-96BB962F0D09}"/>
                </a:ext>
              </a:extLst>
            </p:cNvPr>
            <p:cNvSpPr/>
            <p:nvPr userDrawn="1"/>
          </p:nvSpPr>
          <p:spPr>
            <a:xfrm rot="2700000">
              <a:off x="8741900" y="625281"/>
              <a:ext cx="2104384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grpSp>
        <p:nvGrpSpPr>
          <p:cNvPr id="175" name="GRID" hidden="1">
            <a:extLst>
              <a:ext uri="{FF2B5EF4-FFF2-40B4-BE49-F238E27FC236}">
                <a16:creationId xmlns:a16="http://schemas.microsoft.com/office/drawing/2014/main" id="{CA6A9B3F-40D6-46B3-A74D-498355D95E3F}"/>
              </a:ext>
            </a:extLst>
          </p:cNvPr>
          <p:cNvGrpSpPr/>
          <p:nvPr userDrawn="1"/>
        </p:nvGrpSpPr>
        <p:grpSpPr>
          <a:xfrm>
            <a:off x="-12032" y="0"/>
            <a:ext cx="12204032" cy="6858000"/>
            <a:chOff x="-12032" y="0"/>
            <a:chExt cx="12204032" cy="6858000"/>
          </a:xfrm>
          <a:solidFill>
            <a:schemeClr val="tx1">
              <a:alpha val="20000"/>
            </a:schemeClr>
          </a:solidFill>
        </p:grpSpPr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F62F0052-6DA4-4CBF-A32B-103D5CD5BF38}"/>
                </a:ext>
              </a:extLst>
            </p:cNvPr>
            <p:cNvSpPr/>
            <p:nvPr userDrawn="1"/>
          </p:nvSpPr>
          <p:spPr>
            <a:xfrm>
              <a:off x="0" y="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77" name="Rechthoek 176">
              <a:extLst>
                <a:ext uri="{FF2B5EF4-FFF2-40B4-BE49-F238E27FC236}">
                  <a16:creationId xmlns:a16="http://schemas.microsoft.com/office/drawing/2014/main" id="{AA06759C-9882-4BD0-8135-F36FF8AA543B}"/>
                </a:ext>
              </a:extLst>
            </p:cNvPr>
            <p:cNvSpPr/>
            <p:nvPr userDrawn="1"/>
          </p:nvSpPr>
          <p:spPr>
            <a:xfrm>
              <a:off x="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B7095DA1-8606-456F-8F5F-241C28CE4660}"/>
                </a:ext>
              </a:extLst>
            </p:cNvPr>
            <p:cNvSpPr/>
            <p:nvPr userDrawn="1"/>
          </p:nvSpPr>
          <p:spPr>
            <a:xfrm>
              <a:off x="1161600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79" name="Rechthoek 178">
              <a:extLst>
                <a:ext uri="{FF2B5EF4-FFF2-40B4-BE49-F238E27FC236}">
                  <a16:creationId xmlns:a16="http://schemas.microsoft.com/office/drawing/2014/main" id="{17889CC4-5974-4093-BFDB-9D4C254D963F}"/>
                </a:ext>
              </a:extLst>
            </p:cNvPr>
            <p:cNvSpPr/>
            <p:nvPr userDrawn="1"/>
          </p:nvSpPr>
          <p:spPr>
            <a:xfrm>
              <a:off x="0" y="1564331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E23E0F9B-9515-45AD-9457-6DBA501FE8CF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1" name="Rechthoek 180">
              <a:extLst>
                <a:ext uri="{FF2B5EF4-FFF2-40B4-BE49-F238E27FC236}">
                  <a16:creationId xmlns:a16="http://schemas.microsoft.com/office/drawing/2014/main" id="{BA037040-AE76-4188-A914-6054A6F07307}"/>
                </a:ext>
              </a:extLst>
            </p:cNvPr>
            <p:cNvSpPr/>
            <p:nvPr userDrawn="1"/>
          </p:nvSpPr>
          <p:spPr>
            <a:xfrm>
              <a:off x="-12032" y="562646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B57F10AC-6A61-46E8-8123-50FA04F99E88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F8A54643-D40F-4924-A10B-279198E12338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AAC471D0-20E5-4B64-9278-F91CE7F15DF0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5" name="Rechthoek 184">
              <a:extLst>
                <a:ext uri="{FF2B5EF4-FFF2-40B4-BE49-F238E27FC236}">
                  <a16:creationId xmlns:a16="http://schemas.microsoft.com/office/drawing/2014/main" id="{2EBF5C2F-3072-4421-AC10-FFB75AE5729F}"/>
                </a:ext>
              </a:extLst>
            </p:cNvPr>
            <p:cNvSpPr/>
            <p:nvPr userDrawn="1"/>
          </p:nvSpPr>
          <p:spPr>
            <a:xfrm>
              <a:off x="0" y="628200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sp>
        <p:nvSpPr>
          <p:cNvPr id="274" name="Titel 3">
            <a:extLst>
              <a:ext uri="{FF2B5EF4-FFF2-40B4-BE49-F238E27FC236}">
                <a16:creationId xmlns:a16="http://schemas.microsoft.com/office/drawing/2014/main" id="{ECE1733F-D78E-4AEA-B34A-D48EBAD142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0124" y="302833"/>
            <a:ext cx="8280000" cy="60045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>
              <a:defRPr lang="nl-NL" sz="2800" b="1" dirty="0">
                <a:solidFill>
                  <a:srgbClr val="635D63"/>
                </a:solidFill>
              </a:defRPr>
            </a:lvl1pPr>
          </a:lstStyle>
          <a:p>
            <a:pPr lvl="0"/>
            <a:r>
              <a:rPr lang="nl-NL" noProof="0" dirty="0"/>
              <a:t>Plaats de titel van de dia hier</a:t>
            </a:r>
            <a:endParaRPr lang="nl-NL" dirty="0"/>
          </a:p>
        </p:txBody>
      </p:sp>
      <p:pic>
        <p:nvPicPr>
          <p:cNvPr id="275" name="Afbeelding 274">
            <a:extLst>
              <a:ext uri="{FF2B5EF4-FFF2-40B4-BE49-F238E27FC236}">
                <a16:creationId xmlns:a16="http://schemas.microsoft.com/office/drawing/2014/main" id="{20C6AFC9-F1E5-47B3-8825-9E5EE0A66C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44" t="36321" b="35981"/>
          <a:stretch/>
        </p:blipFill>
        <p:spPr>
          <a:xfrm>
            <a:off x="0" y="281580"/>
            <a:ext cx="927938" cy="627125"/>
          </a:xfrm>
          <a:custGeom>
            <a:avLst/>
            <a:gdLst>
              <a:gd name="connsiteX0" fmla="*/ 0 w 927938"/>
              <a:gd name="connsiteY0" fmla="*/ 0 h 627125"/>
              <a:gd name="connsiteX1" fmla="*/ 927938 w 927938"/>
              <a:gd name="connsiteY1" fmla="*/ 0 h 627125"/>
              <a:gd name="connsiteX2" fmla="*/ 927938 w 927938"/>
              <a:gd name="connsiteY2" fmla="*/ 627125 h 627125"/>
              <a:gd name="connsiteX3" fmla="*/ 0 w 927938"/>
              <a:gd name="connsiteY3" fmla="*/ 627125 h 627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7938" h="627125">
                <a:moveTo>
                  <a:pt x="0" y="0"/>
                </a:moveTo>
                <a:lnTo>
                  <a:pt x="927938" y="0"/>
                </a:lnTo>
                <a:lnTo>
                  <a:pt x="927938" y="627125"/>
                </a:lnTo>
                <a:lnTo>
                  <a:pt x="0" y="627125"/>
                </a:lnTo>
                <a:close/>
              </a:path>
            </a:pathLst>
          </a:custGeom>
        </p:spPr>
      </p:pic>
      <p:sp>
        <p:nvSpPr>
          <p:cNvPr id="276" name="Rechthoek 275">
            <a:extLst>
              <a:ext uri="{FF2B5EF4-FFF2-40B4-BE49-F238E27FC236}">
                <a16:creationId xmlns:a16="http://schemas.microsoft.com/office/drawing/2014/main" id="{7E84E703-CBF2-4543-A1ED-67E3C5415752}"/>
              </a:ext>
            </a:extLst>
          </p:cNvPr>
          <p:cNvSpPr/>
          <p:nvPr userDrawn="1"/>
        </p:nvSpPr>
        <p:spPr>
          <a:xfrm>
            <a:off x="288000" y="1388727"/>
            <a:ext cx="11603963" cy="5187693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 err="1"/>
          </a:p>
        </p:txBody>
      </p:sp>
    </p:spTree>
    <p:extLst>
      <p:ext uri="{BB962C8B-B14F-4D97-AF65-F5344CB8AC3E}">
        <p14:creationId xmlns:p14="http://schemas.microsoft.com/office/powerpoint/2010/main" val="4102438964"/>
      </p:ext>
    </p:extLst>
  </p:cSld>
  <p:clrMapOvr>
    <a:masterClrMapping/>
  </p:clrMapOvr>
  <p:transition spd="slow">
    <p:strips dir="rd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IJ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ID" hidden="1">
            <a:extLst>
              <a:ext uri="{FF2B5EF4-FFF2-40B4-BE49-F238E27FC236}">
                <a16:creationId xmlns:a16="http://schemas.microsoft.com/office/drawing/2014/main" id="{F319575D-1BE1-4CB3-B193-D94E8A4B8396}"/>
              </a:ext>
            </a:extLst>
          </p:cNvPr>
          <p:cNvGrpSpPr/>
          <p:nvPr userDrawn="1"/>
        </p:nvGrpSpPr>
        <p:grpSpPr>
          <a:xfrm>
            <a:off x="-12032" y="-282911"/>
            <a:ext cx="12204032" cy="7140911"/>
            <a:chOff x="-12032" y="-282911"/>
            <a:chExt cx="12204032" cy="7140911"/>
          </a:xfrm>
          <a:solidFill>
            <a:schemeClr val="tx1">
              <a:alpha val="20000"/>
            </a:schemeClr>
          </a:solidFill>
        </p:grpSpPr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7C649C24-162B-490D-8309-BD7F6EE15027}"/>
                </a:ext>
              </a:extLst>
            </p:cNvPr>
            <p:cNvSpPr/>
            <p:nvPr userDrawn="1"/>
          </p:nvSpPr>
          <p:spPr>
            <a:xfrm>
              <a:off x="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445FCC4D-302E-4BB9-927E-5C2398704AFC}"/>
                </a:ext>
              </a:extLst>
            </p:cNvPr>
            <p:cNvSpPr/>
            <p:nvPr userDrawn="1"/>
          </p:nvSpPr>
          <p:spPr>
            <a:xfrm>
              <a:off x="1147200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0" name="Rechthoek 19">
              <a:extLst>
                <a:ext uri="{FF2B5EF4-FFF2-40B4-BE49-F238E27FC236}">
                  <a16:creationId xmlns:a16="http://schemas.microsoft.com/office/drawing/2014/main" id="{1923E5DD-D56D-4CFB-A6A6-87D109588BB5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9B0E07BB-1FFD-4488-B5AB-558B1FF16B4E}"/>
                </a:ext>
              </a:extLst>
            </p:cNvPr>
            <p:cNvSpPr/>
            <p:nvPr userDrawn="1"/>
          </p:nvSpPr>
          <p:spPr>
            <a:xfrm>
              <a:off x="-12032" y="588015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E9B85FCB-6306-4E69-91B3-71D72DB96105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3F0BAFD4-6239-4D39-93E5-82E9E854540E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307091EB-1C56-4470-9F6C-E9F091A2EAD4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2C450DB-83CF-4EEC-926D-36621FBB62EF}"/>
                </a:ext>
              </a:extLst>
            </p:cNvPr>
            <p:cNvSpPr/>
            <p:nvPr userDrawn="1"/>
          </p:nvSpPr>
          <p:spPr>
            <a:xfrm>
              <a:off x="0" y="1063256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7" name="Rechthoek 26">
              <a:extLst>
                <a:ext uri="{FF2B5EF4-FFF2-40B4-BE49-F238E27FC236}">
                  <a16:creationId xmlns:a16="http://schemas.microsoft.com/office/drawing/2014/main" id="{377F1DB8-82CD-4686-BCE7-96BB962F0D09}"/>
                </a:ext>
              </a:extLst>
            </p:cNvPr>
            <p:cNvSpPr/>
            <p:nvPr userDrawn="1"/>
          </p:nvSpPr>
          <p:spPr>
            <a:xfrm rot="2700000">
              <a:off x="8741900" y="625281"/>
              <a:ext cx="2104384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grpSp>
        <p:nvGrpSpPr>
          <p:cNvPr id="175" name="GRID" hidden="1">
            <a:extLst>
              <a:ext uri="{FF2B5EF4-FFF2-40B4-BE49-F238E27FC236}">
                <a16:creationId xmlns:a16="http://schemas.microsoft.com/office/drawing/2014/main" id="{CA6A9B3F-40D6-46B3-A74D-498355D95E3F}"/>
              </a:ext>
            </a:extLst>
          </p:cNvPr>
          <p:cNvGrpSpPr/>
          <p:nvPr userDrawn="1"/>
        </p:nvGrpSpPr>
        <p:grpSpPr>
          <a:xfrm>
            <a:off x="-12032" y="0"/>
            <a:ext cx="12204032" cy="6858000"/>
            <a:chOff x="-12032" y="0"/>
            <a:chExt cx="12204032" cy="6858000"/>
          </a:xfrm>
          <a:solidFill>
            <a:schemeClr val="tx1">
              <a:alpha val="20000"/>
            </a:schemeClr>
          </a:solidFill>
        </p:grpSpPr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F62F0052-6DA4-4CBF-A32B-103D5CD5BF38}"/>
                </a:ext>
              </a:extLst>
            </p:cNvPr>
            <p:cNvSpPr/>
            <p:nvPr userDrawn="1"/>
          </p:nvSpPr>
          <p:spPr>
            <a:xfrm>
              <a:off x="0" y="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77" name="Rechthoek 176">
              <a:extLst>
                <a:ext uri="{FF2B5EF4-FFF2-40B4-BE49-F238E27FC236}">
                  <a16:creationId xmlns:a16="http://schemas.microsoft.com/office/drawing/2014/main" id="{AA06759C-9882-4BD0-8135-F36FF8AA543B}"/>
                </a:ext>
              </a:extLst>
            </p:cNvPr>
            <p:cNvSpPr/>
            <p:nvPr userDrawn="1"/>
          </p:nvSpPr>
          <p:spPr>
            <a:xfrm>
              <a:off x="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B7095DA1-8606-456F-8F5F-241C28CE4660}"/>
                </a:ext>
              </a:extLst>
            </p:cNvPr>
            <p:cNvSpPr/>
            <p:nvPr userDrawn="1"/>
          </p:nvSpPr>
          <p:spPr>
            <a:xfrm>
              <a:off x="1161600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79" name="Rechthoek 178">
              <a:extLst>
                <a:ext uri="{FF2B5EF4-FFF2-40B4-BE49-F238E27FC236}">
                  <a16:creationId xmlns:a16="http://schemas.microsoft.com/office/drawing/2014/main" id="{17889CC4-5974-4093-BFDB-9D4C254D963F}"/>
                </a:ext>
              </a:extLst>
            </p:cNvPr>
            <p:cNvSpPr/>
            <p:nvPr userDrawn="1"/>
          </p:nvSpPr>
          <p:spPr>
            <a:xfrm>
              <a:off x="0" y="1564331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E23E0F9B-9515-45AD-9457-6DBA501FE8CF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1" name="Rechthoek 180">
              <a:extLst>
                <a:ext uri="{FF2B5EF4-FFF2-40B4-BE49-F238E27FC236}">
                  <a16:creationId xmlns:a16="http://schemas.microsoft.com/office/drawing/2014/main" id="{BA037040-AE76-4188-A914-6054A6F07307}"/>
                </a:ext>
              </a:extLst>
            </p:cNvPr>
            <p:cNvSpPr/>
            <p:nvPr userDrawn="1"/>
          </p:nvSpPr>
          <p:spPr>
            <a:xfrm>
              <a:off x="-12032" y="562646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B57F10AC-6A61-46E8-8123-50FA04F99E88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F8A54643-D40F-4924-A10B-279198E12338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AAC471D0-20E5-4B64-9278-F91CE7F15DF0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5" name="Rechthoek 184">
              <a:extLst>
                <a:ext uri="{FF2B5EF4-FFF2-40B4-BE49-F238E27FC236}">
                  <a16:creationId xmlns:a16="http://schemas.microsoft.com/office/drawing/2014/main" id="{2EBF5C2F-3072-4421-AC10-FFB75AE5729F}"/>
                </a:ext>
              </a:extLst>
            </p:cNvPr>
            <p:cNvSpPr/>
            <p:nvPr userDrawn="1"/>
          </p:nvSpPr>
          <p:spPr>
            <a:xfrm>
              <a:off x="0" y="628200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sp>
        <p:nvSpPr>
          <p:cNvPr id="274" name="Titel 3">
            <a:extLst>
              <a:ext uri="{FF2B5EF4-FFF2-40B4-BE49-F238E27FC236}">
                <a16:creationId xmlns:a16="http://schemas.microsoft.com/office/drawing/2014/main" id="{ECE1733F-D78E-4AEA-B34A-D48EBAD142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0124" y="302833"/>
            <a:ext cx="8280000" cy="60045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>
              <a:defRPr lang="nl-NL" sz="2800" b="1" dirty="0">
                <a:solidFill>
                  <a:srgbClr val="635D63"/>
                </a:solidFill>
              </a:defRPr>
            </a:lvl1pPr>
          </a:lstStyle>
          <a:p>
            <a:pPr lvl="0"/>
            <a:r>
              <a:rPr lang="nl-NL" noProof="0" dirty="0"/>
              <a:t>Plaats de titel van de dia hier</a:t>
            </a:r>
            <a:endParaRPr lang="nl-NL" dirty="0"/>
          </a:p>
        </p:txBody>
      </p:sp>
      <p:pic>
        <p:nvPicPr>
          <p:cNvPr id="275" name="Afbeelding 274">
            <a:extLst>
              <a:ext uri="{FF2B5EF4-FFF2-40B4-BE49-F238E27FC236}">
                <a16:creationId xmlns:a16="http://schemas.microsoft.com/office/drawing/2014/main" id="{20C6AFC9-F1E5-47B3-8825-9E5EE0A66C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44" t="36321" b="35981"/>
          <a:stretch/>
        </p:blipFill>
        <p:spPr>
          <a:xfrm>
            <a:off x="0" y="281580"/>
            <a:ext cx="927938" cy="627125"/>
          </a:xfrm>
          <a:custGeom>
            <a:avLst/>
            <a:gdLst>
              <a:gd name="connsiteX0" fmla="*/ 0 w 927938"/>
              <a:gd name="connsiteY0" fmla="*/ 0 h 627125"/>
              <a:gd name="connsiteX1" fmla="*/ 927938 w 927938"/>
              <a:gd name="connsiteY1" fmla="*/ 0 h 627125"/>
              <a:gd name="connsiteX2" fmla="*/ 927938 w 927938"/>
              <a:gd name="connsiteY2" fmla="*/ 627125 h 627125"/>
              <a:gd name="connsiteX3" fmla="*/ 0 w 927938"/>
              <a:gd name="connsiteY3" fmla="*/ 627125 h 627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7938" h="627125">
                <a:moveTo>
                  <a:pt x="0" y="0"/>
                </a:moveTo>
                <a:lnTo>
                  <a:pt x="927938" y="0"/>
                </a:lnTo>
                <a:lnTo>
                  <a:pt x="927938" y="627125"/>
                </a:lnTo>
                <a:lnTo>
                  <a:pt x="0" y="627125"/>
                </a:lnTo>
                <a:close/>
              </a:path>
            </a:pathLst>
          </a:custGeom>
        </p:spPr>
      </p:pic>
      <p:sp>
        <p:nvSpPr>
          <p:cNvPr id="159" name="Tijdelijke aanduiding voor afbeelding 135">
            <a:extLst>
              <a:ext uri="{FF2B5EF4-FFF2-40B4-BE49-F238E27FC236}">
                <a16:creationId xmlns:a16="http://schemas.microsoft.com/office/drawing/2014/main" id="{15F596BF-82AB-4F17-9947-E6C4302B86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9" y="1376362"/>
            <a:ext cx="5789093" cy="5193638"/>
          </a:xfrm>
          <a:custGeom>
            <a:avLst/>
            <a:gdLst>
              <a:gd name="connsiteX0" fmla="*/ 0 w 11298386"/>
              <a:gd name="connsiteY0" fmla="*/ 0 h 6286212"/>
              <a:gd name="connsiteX1" fmla="*/ 11298386 w 11298386"/>
              <a:gd name="connsiteY1" fmla="*/ 0 h 6286212"/>
              <a:gd name="connsiteX2" fmla="*/ 11298386 w 11298386"/>
              <a:gd name="connsiteY2" fmla="*/ 6078273 h 6286212"/>
              <a:gd name="connsiteX3" fmla="*/ 11298386 w 11298386"/>
              <a:gd name="connsiteY3" fmla="*/ 6283325 h 6286212"/>
              <a:gd name="connsiteX4" fmla="*/ 11298386 w 11298386"/>
              <a:gd name="connsiteY4" fmla="*/ 6286212 h 6286212"/>
              <a:gd name="connsiteX5" fmla="*/ 10722386 w 11298386"/>
              <a:gd name="connsiteY5" fmla="*/ 6286212 h 6286212"/>
              <a:gd name="connsiteX6" fmla="*/ 10722386 w 11298386"/>
              <a:gd name="connsiteY6" fmla="*/ 6283325 h 6286212"/>
              <a:gd name="connsiteX7" fmla="*/ 0 w 11298386"/>
              <a:gd name="connsiteY7" fmla="*/ 6283325 h 6286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8386" h="6286212">
                <a:moveTo>
                  <a:pt x="0" y="0"/>
                </a:moveTo>
                <a:lnTo>
                  <a:pt x="11298386" y="0"/>
                </a:lnTo>
                <a:lnTo>
                  <a:pt x="11298386" y="6078273"/>
                </a:lnTo>
                <a:lnTo>
                  <a:pt x="11298386" y="6283325"/>
                </a:lnTo>
                <a:lnTo>
                  <a:pt x="11298386" y="6286212"/>
                </a:lnTo>
                <a:lnTo>
                  <a:pt x="10722386" y="6286212"/>
                </a:lnTo>
                <a:lnTo>
                  <a:pt x="10722386" y="6283325"/>
                </a:lnTo>
                <a:lnTo>
                  <a:pt x="0" y="62833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56000" tIns="1620000" rIns="756000" bIns="2880000" anchor="ctr" anchorCtr="0">
            <a:noAutofit/>
          </a:bodyPr>
          <a:lstStyle>
            <a:lvl1pPr marL="0" indent="0" algn="ctr">
              <a:buNone/>
              <a:defRPr sz="12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 dirty="0"/>
              <a:t>Selecteer dit kader, ga naar de tab ‘Invoegen’, kies de gewenste afbeelding en klik op ‘Invoegen’</a:t>
            </a:r>
          </a:p>
        </p:txBody>
      </p:sp>
      <p:sp>
        <p:nvSpPr>
          <p:cNvPr id="160" name="Tijdelijke aanduiding voor verticale tekst 2">
            <a:extLst>
              <a:ext uri="{FF2B5EF4-FFF2-40B4-BE49-F238E27FC236}">
                <a16:creationId xmlns:a16="http://schemas.microsoft.com/office/drawing/2014/main" id="{A3C1D55E-31CF-4AD1-8D24-69A62816880C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594908" y="1674395"/>
            <a:ext cx="5085447" cy="4199027"/>
          </a:xfrm>
        </p:spPr>
        <p:txBody>
          <a:bodyPr vert="horz"/>
          <a:lstStyle>
            <a:lvl1pPr marL="342900" indent="-342900">
              <a:buFont typeface="+mj-lt"/>
              <a:buAutoNum type="arabicPeriod"/>
              <a:defRPr sz="1800" b="1">
                <a:latin typeface="+mn-lt"/>
              </a:defRPr>
            </a:lvl1pPr>
            <a:lvl2pPr marL="714375" indent="-354013"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00299348"/>
      </p:ext>
    </p:extLst>
  </p:cSld>
  <p:clrMapOvr>
    <a:masterClrMapping/>
  </p:clrMapOvr>
  <p:transition spd="slow">
    <p:strips dir="rd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AANDUIDING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hoek 31">
            <a:extLst>
              <a:ext uri="{FF2B5EF4-FFF2-40B4-BE49-F238E27FC236}">
                <a16:creationId xmlns:a16="http://schemas.microsoft.com/office/drawing/2014/main" id="{FB44FA68-46B7-4757-998C-7F2CA7BCB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/>
          </a:p>
        </p:txBody>
      </p:sp>
      <p:grpSp>
        <p:nvGrpSpPr>
          <p:cNvPr id="16" name="GRID" hidden="1">
            <a:extLst>
              <a:ext uri="{FF2B5EF4-FFF2-40B4-BE49-F238E27FC236}">
                <a16:creationId xmlns:a16="http://schemas.microsoft.com/office/drawing/2014/main" id="{F319575D-1BE1-4CB3-B193-D94E8A4B8396}"/>
              </a:ext>
            </a:extLst>
          </p:cNvPr>
          <p:cNvGrpSpPr/>
          <p:nvPr userDrawn="1"/>
        </p:nvGrpSpPr>
        <p:grpSpPr>
          <a:xfrm>
            <a:off x="-12032" y="-282911"/>
            <a:ext cx="12204032" cy="7140911"/>
            <a:chOff x="-12032" y="-282911"/>
            <a:chExt cx="12204032" cy="7140911"/>
          </a:xfrm>
          <a:solidFill>
            <a:schemeClr val="tx1">
              <a:alpha val="20000"/>
            </a:schemeClr>
          </a:solidFill>
        </p:grpSpPr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7C649C24-162B-490D-8309-BD7F6EE15027}"/>
                </a:ext>
              </a:extLst>
            </p:cNvPr>
            <p:cNvSpPr/>
            <p:nvPr userDrawn="1"/>
          </p:nvSpPr>
          <p:spPr>
            <a:xfrm>
              <a:off x="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445FCC4D-302E-4BB9-927E-5C2398704AFC}"/>
                </a:ext>
              </a:extLst>
            </p:cNvPr>
            <p:cNvSpPr/>
            <p:nvPr userDrawn="1"/>
          </p:nvSpPr>
          <p:spPr>
            <a:xfrm>
              <a:off x="11472000" y="0"/>
              <a:ext cx="720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0" name="Rechthoek 19">
              <a:extLst>
                <a:ext uri="{FF2B5EF4-FFF2-40B4-BE49-F238E27FC236}">
                  <a16:creationId xmlns:a16="http://schemas.microsoft.com/office/drawing/2014/main" id="{1923E5DD-D56D-4CFB-A6A6-87D109588BB5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9B0E07BB-1FFD-4488-B5AB-558B1FF16B4E}"/>
                </a:ext>
              </a:extLst>
            </p:cNvPr>
            <p:cNvSpPr/>
            <p:nvPr userDrawn="1"/>
          </p:nvSpPr>
          <p:spPr>
            <a:xfrm>
              <a:off x="-12032" y="588015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E9B85FCB-6306-4E69-91B3-71D72DB96105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3F0BAFD4-6239-4D39-93E5-82E9E854540E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307091EB-1C56-4470-9F6C-E9F091A2EAD4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2C450DB-83CF-4EEC-926D-36621FBB62EF}"/>
                </a:ext>
              </a:extLst>
            </p:cNvPr>
            <p:cNvSpPr/>
            <p:nvPr userDrawn="1"/>
          </p:nvSpPr>
          <p:spPr>
            <a:xfrm>
              <a:off x="0" y="1063256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7" name="Rechthoek 26">
              <a:extLst>
                <a:ext uri="{FF2B5EF4-FFF2-40B4-BE49-F238E27FC236}">
                  <a16:creationId xmlns:a16="http://schemas.microsoft.com/office/drawing/2014/main" id="{377F1DB8-82CD-4686-BCE7-96BB962F0D09}"/>
                </a:ext>
              </a:extLst>
            </p:cNvPr>
            <p:cNvSpPr/>
            <p:nvPr userDrawn="1"/>
          </p:nvSpPr>
          <p:spPr>
            <a:xfrm rot="2700000">
              <a:off x="8741900" y="625281"/>
              <a:ext cx="2104384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grpSp>
        <p:nvGrpSpPr>
          <p:cNvPr id="6" name="DYNAMIC DEVICE" hidden="1">
            <a:extLst>
              <a:ext uri="{FF2B5EF4-FFF2-40B4-BE49-F238E27FC236}">
                <a16:creationId xmlns:a16="http://schemas.microsoft.com/office/drawing/2014/main" id="{B5286F1F-477A-4BE1-86FA-A1C138E1195C}"/>
              </a:ext>
            </a:extLst>
          </p:cNvPr>
          <p:cNvGrpSpPr/>
          <p:nvPr userDrawn="1"/>
        </p:nvGrpSpPr>
        <p:grpSpPr>
          <a:xfrm>
            <a:off x="281765" y="3163312"/>
            <a:ext cx="9730597" cy="1781022"/>
            <a:chOff x="281765" y="3163312"/>
            <a:chExt cx="9730597" cy="1781022"/>
          </a:xfrm>
        </p:grpSpPr>
        <p:grpSp>
          <p:nvGrpSpPr>
            <p:cNvPr id="2" name="Groep 1">
              <a:extLst>
                <a:ext uri="{FF2B5EF4-FFF2-40B4-BE49-F238E27FC236}">
                  <a16:creationId xmlns:a16="http://schemas.microsoft.com/office/drawing/2014/main" id="{FFFCDC1A-E77C-4645-AA40-37FAF279D15C}"/>
                </a:ext>
              </a:extLst>
            </p:cNvPr>
            <p:cNvGrpSpPr/>
            <p:nvPr userDrawn="1"/>
          </p:nvGrpSpPr>
          <p:grpSpPr>
            <a:xfrm>
              <a:off x="281765" y="3163312"/>
              <a:ext cx="9730597" cy="890232"/>
              <a:chOff x="281765" y="3163312"/>
              <a:chExt cx="9730597" cy="890232"/>
            </a:xfrm>
          </p:grpSpPr>
          <p:sp>
            <p:nvSpPr>
              <p:cNvPr id="98" name="Vrije vorm: vorm 97">
                <a:extLst>
                  <a:ext uri="{FF2B5EF4-FFF2-40B4-BE49-F238E27FC236}">
                    <a16:creationId xmlns:a16="http://schemas.microsoft.com/office/drawing/2014/main" id="{FB5C508C-270E-4884-BA6D-F33265BFDF73}"/>
                  </a:ext>
                </a:extLst>
              </p:cNvPr>
              <p:cNvSpPr/>
              <p:nvPr/>
            </p:nvSpPr>
            <p:spPr>
              <a:xfrm>
                <a:off x="281765" y="3163828"/>
                <a:ext cx="9730590" cy="889200"/>
              </a:xfrm>
              <a:custGeom>
                <a:avLst/>
                <a:gdLst>
                  <a:gd name="connsiteX0" fmla="*/ 0 w 3890192"/>
                  <a:gd name="connsiteY0" fmla="*/ 0 h 999022"/>
                  <a:gd name="connsiteX1" fmla="*/ 3890192 w 3890192"/>
                  <a:gd name="connsiteY1" fmla="*/ 0 h 999022"/>
                  <a:gd name="connsiteX2" fmla="*/ 3890192 w 3890192"/>
                  <a:gd name="connsiteY2" fmla="*/ 999022 h 999022"/>
                  <a:gd name="connsiteX3" fmla="*/ 0 w 3890192"/>
                  <a:gd name="connsiteY3" fmla="*/ 999022 h 999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0192" h="999022">
                    <a:moveTo>
                      <a:pt x="0" y="0"/>
                    </a:moveTo>
                    <a:lnTo>
                      <a:pt x="3890192" y="0"/>
                    </a:lnTo>
                    <a:lnTo>
                      <a:pt x="3890192" y="999022"/>
                    </a:lnTo>
                    <a:lnTo>
                      <a:pt x="0" y="999022"/>
                    </a:lnTo>
                    <a:close/>
                  </a:path>
                </a:pathLst>
              </a:custGeom>
              <a:solidFill>
                <a:srgbClr val="E5007D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2" name="Vrije vorm: vorm 101">
                <a:extLst>
                  <a:ext uri="{FF2B5EF4-FFF2-40B4-BE49-F238E27FC236}">
                    <a16:creationId xmlns:a16="http://schemas.microsoft.com/office/drawing/2014/main" id="{0FC61FF3-7A51-4A68-B99E-4D579A78B6E3}"/>
                  </a:ext>
                </a:extLst>
              </p:cNvPr>
              <p:cNvSpPr/>
              <p:nvPr/>
            </p:nvSpPr>
            <p:spPr>
              <a:xfrm>
                <a:off x="7350986" y="3164516"/>
                <a:ext cx="1781858" cy="887825"/>
              </a:xfrm>
              <a:custGeom>
                <a:avLst/>
                <a:gdLst>
                  <a:gd name="connsiteX0" fmla="*/ 0 w 758858"/>
                  <a:gd name="connsiteY0" fmla="*/ 0 h 381214"/>
                  <a:gd name="connsiteX1" fmla="*/ 755277 w 758858"/>
                  <a:gd name="connsiteY1" fmla="*/ 0 h 381214"/>
                  <a:gd name="connsiteX2" fmla="*/ 758858 w 758858"/>
                  <a:gd name="connsiteY2" fmla="*/ 3581 h 381214"/>
                  <a:gd name="connsiteX3" fmla="*/ 381225 w 758858"/>
                  <a:gd name="connsiteY3" fmla="*/ 381214 h 381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8858" h="381214">
                    <a:moveTo>
                      <a:pt x="0" y="0"/>
                    </a:moveTo>
                    <a:lnTo>
                      <a:pt x="755277" y="0"/>
                    </a:lnTo>
                    <a:lnTo>
                      <a:pt x="758858" y="3581"/>
                    </a:lnTo>
                    <a:lnTo>
                      <a:pt x="381225" y="381214"/>
                    </a:lnTo>
                    <a:close/>
                  </a:path>
                </a:pathLst>
              </a:custGeom>
              <a:solidFill>
                <a:srgbClr val="BF027F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3" name="Graphic 6">
                <a:extLst>
                  <a:ext uri="{FF2B5EF4-FFF2-40B4-BE49-F238E27FC236}">
                    <a16:creationId xmlns:a16="http://schemas.microsoft.com/office/drawing/2014/main" id="{999A557C-F10B-410E-823A-F4D0F2159B3A}"/>
                  </a:ext>
                </a:extLst>
              </p:cNvPr>
              <p:cNvSpPr/>
              <p:nvPr/>
            </p:nvSpPr>
            <p:spPr>
              <a:xfrm>
                <a:off x="8238931" y="3163312"/>
                <a:ext cx="1773431" cy="890232"/>
              </a:xfrm>
              <a:custGeom>
                <a:avLst/>
                <a:gdLst>
                  <a:gd name="connsiteX0" fmla="*/ 0 w 368433"/>
                  <a:gd name="connsiteY0" fmla="*/ 184217 h 184233"/>
                  <a:gd name="connsiteX1" fmla="*/ 368434 w 368433"/>
                  <a:gd name="connsiteY1" fmla="*/ 184234 h 184233"/>
                  <a:gd name="connsiteX2" fmla="*/ 184217 w 368433"/>
                  <a:gd name="connsiteY2" fmla="*/ 0 h 184233"/>
                  <a:gd name="connsiteX3" fmla="*/ 0 w 368433"/>
                  <a:gd name="connsiteY3" fmla="*/ 184217 h 184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433" h="184233">
                    <a:moveTo>
                      <a:pt x="0" y="184217"/>
                    </a:moveTo>
                    <a:lnTo>
                      <a:pt x="368434" y="184234"/>
                    </a:lnTo>
                    <a:lnTo>
                      <a:pt x="184217" y="0"/>
                    </a:lnTo>
                    <a:lnTo>
                      <a:pt x="0" y="184217"/>
                    </a:lnTo>
                    <a:close/>
                  </a:path>
                </a:pathLst>
              </a:custGeom>
              <a:solidFill>
                <a:srgbClr val="A71380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5" name="Groep 4">
              <a:extLst>
                <a:ext uri="{FF2B5EF4-FFF2-40B4-BE49-F238E27FC236}">
                  <a16:creationId xmlns:a16="http://schemas.microsoft.com/office/drawing/2014/main" id="{63D0F653-81D1-47C7-BF75-390D762811DF}"/>
                </a:ext>
              </a:extLst>
            </p:cNvPr>
            <p:cNvGrpSpPr/>
            <p:nvPr userDrawn="1"/>
          </p:nvGrpSpPr>
          <p:grpSpPr>
            <a:xfrm>
              <a:off x="281765" y="4054102"/>
              <a:ext cx="9730597" cy="890232"/>
              <a:chOff x="281765" y="4054102"/>
              <a:chExt cx="9730597" cy="890232"/>
            </a:xfrm>
          </p:grpSpPr>
          <p:sp>
            <p:nvSpPr>
              <p:cNvPr id="99" name="Vrije vorm: vorm 98">
                <a:extLst>
                  <a:ext uri="{FF2B5EF4-FFF2-40B4-BE49-F238E27FC236}">
                    <a16:creationId xmlns:a16="http://schemas.microsoft.com/office/drawing/2014/main" id="{2D7FDBBD-0CEA-4B3F-87AF-F9D78ADCD7B3}"/>
                  </a:ext>
                </a:extLst>
              </p:cNvPr>
              <p:cNvSpPr/>
              <p:nvPr/>
            </p:nvSpPr>
            <p:spPr>
              <a:xfrm>
                <a:off x="281765" y="4055431"/>
                <a:ext cx="9730590" cy="887574"/>
              </a:xfrm>
              <a:custGeom>
                <a:avLst/>
                <a:gdLst>
                  <a:gd name="connsiteX0" fmla="*/ 0 w 3890193"/>
                  <a:gd name="connsiteY0" fmla="*/ 0 h 998237"/>
                  <a:gd name="connsiteX1" fmla="*/ 3890193 w 3890193"/>
                  <a:gd name="connsiteY1" fmla="*/ 0 h 998237"/>
                  <a:gd name="connsiteX2" fmla="*/ 3890193 w 3890193"/>
                  <a:gd name="connsiteY2" fmla="*/ 998237 h 998237"/>
                  <a:gd name="connsiteX3" fmla="*/ 0 w 3890193"/>
                  <a:gd name="connsiteY3" fmla="*/ 998237 h 998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0193" h="998237">
                    <a:moveTo>
                      <a:pt x="0" y="0"/>
                    </a:moveTo>
                    <a:lnTo>
                      <a:pt x="3890193" y="0"/>
                    </a:lnTo>
                    <a:lnTo>
                      <a:pt x="3890193" y="998237"/>
                    </a:lnTo>
                    <a:lnTo>
                      <a:pt x="0" y="998237"/>
                    </a:lnTo>
                    <a:close/>
                  </a:path>
                </a:pathLst>
              </a:custGeom>
              <a:solidFill>
                <a:schemeClr val="accent2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1" name="Vrije vorm: vorm 100">
                <a:extLst>
                  <a:ext uri="{FF2B5EF4-FFF2-40B4-BE49-F238E27FC236}">
                    <a16:creationId xmlns:a16="http://schemas.microsoft.com/office/drawing/2014/main" id="{0DCB2CFC-88A6-4057-82D3-F9E5ABB83640}"/>
                  </a:ext>
                </a:extLst>
              </p:cNvPr>
              <p:cNvSpPr/>
              <p:nvPr/>
            </p:nvSpPr>
            <p:spPr>
              <a:xfrm>
                <a:off x="7355192" y="4054102"/>
                <a:ext cx="1773445" cy="890232"/>
              </a:xfrm>
              <a:custGeom>
                <a:avLst/>
                <a:gdLst>
                  <a:gd name="connsiteX0" fmla="*/ 377643 w 755275"/>
                  <a:gd name="connsiteY0" fmla="*/ 0 h 377632"/>
                  <a:gd name="connsiteX1" fmla="*/ 755275 w 755275"/>
                  <a:gd name="connsiteY1" fmla="*/ 377632 h 377632"/>
                  <a:gd name="connsiteX2" fmla="*/ 0 w 755275"/>
                  <a:gd name="connsiteY2" fmla="*/ 377632 h 37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5275" h="377632">
                    <a:moveTo>
                      <a:pt x="377643" y="0"/>
                    </a:moveTo>
                    <a:lnTo>
                      <a:pt x="755275" y="377632"/>
                    </a:lnTo>
                    <a:lnTo>
                      <a:pt x="0" y="377632"/>
                    </a:lnTo>
                    <a:close/>
                  </a:path>
                </a:pathLst>
              </a:custGeom>
              <a:solidFill>
                <a:srgbClr val="A7C80C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4" name="Graphic 6">
                <a:extLst>
                  <a:ext uri="{FF2B5EF4-FFF2-40B4-BE49-F238E27FC236}">
                    <a16:creationId xmlns:a16="http://schemas.microsoft.com/office/drawing/2014/main" id="{20ECF69E-B41C-471D-B162-4F9927B126DF}"/>
                  </a:ext>
                </a:extLst>
              </p:cNvPr>
              <p:cNvSpPr/>
              <p:nvPr/>
            </p:nvSpPr>
            <p:spPr>
              <a:xfrm>
                <a:off x="8238931" y="4054102"/>
                <a:ext cx="1773431" cy="890232"/>
              </a:xfrm>
              <a:custGeom>
                <a:avLst/>
                <a:gdLst>
                  <a:gd name="connsiteX0" fmla="*/ 184217 w 368433"/>
                  <a:gd name="connsiteY0" fmla="*/ 184217 h 184216"/>
                  <a:gd name="connsiteX1" fmla="*/ 368434 w 368433"/>
                  <a:gd name="connsiteY1" fmla="*/ 0 h 184216"/>
                  <a:gd name="connsiteX2" fmla="*/ 0 w 368433"/>
                  <a:gd name="connsiteY2" fmla="*/ 0 h 184216"/>
                  <a:gd name="connsiteX3" fmla="*/ 184217 w 368433"/>
                  <a:gd name="connsiteY3" fmla="*/ 184217 h 184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433" h="184216">
                    <a:moveTo>
                      <a:pt x="184217" y="184217"/>
                    </a:moveTo>
                    <a:lnTo>
                      <a:pt x="368434" y="0"/>
                    </a:lnTo>
                    <a:lnTo>
                      <a:pt x="0" y="0"/>
                    </a:lnTo>
                    <a:lnTo>
                      <a:pt x="184217" y="184217"/>
                    </a:lnTo>
                    <a:close/>
                  </a:path>
                </a:pathLst>
              </a:custGeom>
              <a:solidFill>
                <a:srgbClr val="8BBE1F"/>
              </a:solidFill>
              <a:ln w="1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05" name="GRID" hidden="1">
            <a:extLst>
              <a:ext uri="{FF2B5EF4-FFF2-40B4-BE49-F238E27FC236}">
                <a16:creationId xmlns:a16="http://schemas.microsoft.com/office/drawing/2014/main" id="{7D174604-FE5F-4813-8732-954C528C8290}"/>
              </a:ext>
            </a:extLst>
          </p:cNvPr>
          <p:cNvGrpSpPr/>
          <p:nvPr userDrawn="1"/>
        </p:nvGrpSpPr>
        <p:grpSpPr>
          <a:xfrm>
            <a:off x="-12032" y="0"/>
            <a:ext cx="12204032" cy="6858000"/>
            <a:chOff x="-12032" y="0"/>
            <a:chExt cx="12204032" cy="6858000"/>
          </a:xfrm>
          <a:solidFill>
            <a:schemeClr val="tx1">
              <a:alpha val="20000"/>
            </a:schemeClr>
          </a:solidFill>
        </p:grpSpPr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42A51D21-EADE-4E1A-925C-FB173B9687EA}"/>
                </a:ext>
              </a:extLst>
            </p:cNvPr>
            <p:cNvSpPr/>
            <p:nvPr userDrawn="1"/>
          </p:nvSpPr>
          <p:spPr>
            <a:xfrm>
              <a:off x="0" y="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1E53A6F8-19A1-4DCA-9378-1202A64CC9EE}"/>
                </a:ext>
              </a:extLst>
            </p:cNvPr>
            <p:cNvSpPr/>
            <p:nvPr userDrawn="1"/>
          </p:nvSpPr>
          <p:spPr>
            <a:xfrm>
              <a:off x="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8" name="Rechthoek 107">
              <a:extLst>
                <a:ext uri="{FF2B5EF4-FFF2-40B4-BE49-F238E27FC236}">
                  <a16:creationId xmlns:a16="http://schemas.microsoft.com/office/drawing/2014/main" id="{EF477EAB-3AAB-489A-8B40-2617F00D944B}"/>
                </a:ext>
              </a:extLst>
            </p:cNvPr>
            <p:cNvSpPr/>
            <p:nvPr userDrawn="1"/>
          </p:nvSpPr>
          <p:spPr>
            <a:xfrm>
              <a:off x="1161600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E32858EC-9757-4F87-8E68-2E0A538BFF7A}"/>
                </a:ext>
              </a:extLst>
            </p:cNvPr>
            <p:cNvSpPr/>
            <p:nvPr userDrawn="1"/>
          </p:nvSpPr>
          <p:spPr>
            <a:xfrm>
              <a:off x="0" y="1227241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4A34094A-73F0-47BE-935E-8302DA4E0F6E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1" name="Rechthoek 110">
              <a:extLst>
                <a:ext uri="{FF2B5EF4-FFF2-40B4-BE49-F238E27FC236}">
                  <a16:creationId xmlns:a16="http://schemas.microsoft.com/office/drawing/2014/main" id="{4817BD70-983D-4F15-8C97-FDD7DA7D952A}"/>
                </a:ext>
              </a:extLst>
            </p:cNvPr>
            <p:cNvSpPr/>
            <p:nvPr userDrawn="1"/>
          </p:nvSpPr>
          <p:spPr>
            <a:xfrm>
              <a:off x="-12032" y="5626465"/>
              <a:ext cx="121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0E36A908-5AC8-4999-875F-DA5D76447287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id="{21FED529-B705-48AF-9500-877C1BA0E84C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4" name="Rechthoek 113">
              <a:extLst>
                <a:ext uri="{FF2B5EF4-FFF2-40B4-BE49-F238E27FC236}">
                  <a16:creationId xmlns:a16="http://schemas.microsoft.com/office/drawing/2014/main" id="{E5086412-09CE-4AD8-8F97-0E11DA4F1E25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5" name="Rechthoek 114">
              <a:extLst>
                <a:ext uri="{FF2B5EF4-FFF2-40B4-BE49-F238E27FC236}">
                  <a16:creationId xmlns:a16="http://schemas.microsoft.com/office/drawing/2014/main" id="{770B1A5F-1D9B-4DBD-BF67-9C12233D4C57}"/>
                </a:ext>
              </a:extLst>
            </p:cNvPr>
            <p:cNvSpPr/>
            <p:nvPr userDrawn="1"/>
          </p:nvSpPr>
          <p:spPr>
            <a:xfrm>
              <a:off x="0" y="628200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id="{D8CAB18A-C6CC-485C-9315-45590F672687}"/>
                </a:ext>
              </a:extLst>
            </p:cNvPr>
            <p:cNvSpPr/>
            <p:nvPr userDrawn="1"/>
          </p:nvSpPr>
          <p:spPr>
            <a:xfrm>
              <a:off x="574675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sp>
        <p:nvSpPr>
          <p:cNvPr id="116" name="Tijdelijke aanduiding voor afbeelding 135">
            <a:extLst>
              <a:ext uri="{FF2B5EF4-FFF2-40B4-BE49-F238E27FC236}">
                <a16:creationId xmlns:a16="http://schemas.microsoft.com/office/drawing/2014/main" id="{3B34653B-0A79-4E72-A6F3-80A58BC747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01979" y="1376362"/>
            <a:ext cx="8083114" cy="5193638"/>
          </a:xfrm>
          <a:custGeom>
            <a:avLst/>
            <a:gdLst>
              <a:gd name="connsiteX0" fmla="*/ 0 w 11298386"/>
              <a:gd name="connsiteY0" fmla="*/ 0 h 6286212"/>
              <a:gd name="connsiteX1" fmla="*/ 11298386 w 11298386"/>
              <a:gd name="connsiteY1" fmla="*/ 0 h 6286212"/>
              <a:gd name="connsiteX2" fmla="*/ 11298386 w 11298386"/>
              <a:gd name="connsiteY2" fmla="*/ 6078273 h 6286212"/>
              <a:gd name="connsiteX3" fmla="*/ 11298386 w 11298386"/>
              <a:gd name="connsiteY3" fmla="*/ 6283325 h 6286212"/>
              <a:gd name="connsiteX4" fmla="*/ 11298386 w 11298386"/>
              <a:gd name="connsiteY4" fmla="*/ 6286212 h 6286212"/>
              <a:gd name="connsiteX5" fmla="*/ 10722386 w 11298386"/>
              <a:gd name="connsiteY5" fmla="*/ 6286212 h 6286212"/>
              <a:gd name="connsiteX6" fmla="*/ 10722386 w 11298386"/>
              <a:gd name="connsiteY6" fmla="*/ 6283325 h 6286212"/>
              <a:gd name="connsiteX7" fmla="*/ 0 w 11298386"/>
              <a:gd name="connsiteY7" fmla="*/ 6283325 h 6286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8386" h="6286212">
                <a:moveTo>
                  <a:pt x="0" y="0"/>
                </a:moveTo>
                <a:lnTo>
                  <a:pt x="11298386" y="0"/>
                </a:lnTo>
                <a:lnTo>
                  <a:pt x="11298386" y="6078273"/>
                </a:lnTo>
                <a:lnTo>
                  <a:pt x="11298386" y="6283325"/>
                </a:lnTo>
                <a:lnTo>
                  <a:pt x="11298386" y="6286212"/>
                </a:lnTo>
                <a:lnTo>
                  <a:pt x="10722386" y="6286212"/>
                </a:lnTo>
                <a:lnTo>
                  <a:pt x="10722386" y="6283325"/>
                </a:lnTo>
                <a:lnTo>
                  <a:pt x="0" y="62833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0" bIns="2880000" anchor="ctr" anchorCtr="0">
            <a:noAutofit/>
          </a:bodyPr>
          <a:lstStyle>
            <a:lvl1pPr marL="0" indent="0" algn="ctr">
              <a:buNone/>
              <a:defRPr sz="12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 dirty="0"/>
              <a:t>Selecteer dit kader, ga naar de tab ‘Invoegen’, kies de gewenste afbeelding en klik op ‘Invoegen’</a:t>
            </a:r>
          </a:p>
        </p:txBody>
      </p:sp>
      <p:pic>
        <p:nvPicPr>
          <p:cNvPr id="118" name="LOGO">
            <a:extLst>
              <a:ext uri="{FF2B5EF4-FFF2-40B4-BE49-F238E27FC236}">
                <a16:creationId xmlns:a16="http://schemas.microsoft.com/office/drawing/2014/main" id="{D0E4E882-BD18-420C-9D09-EFED757C36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8004" y="45291"/>
            <a:ext cx="2643570" cy="127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39801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12FE4F8-3AC7-C1AD-EBCF-567EBABE6C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502013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04" imgH="405" progId="TCLayout.ActiveDocument.1">
                  <p:embed/>
                </p:oleObj>
              </mc:Choice>
              <mc:Fallback>
                <p:oleObj name="think-cell Slide" r:id="rId20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2FE4F8-3AC7-C1AD-EBCF-567EBABE6C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Graphic 6">
            <a:extLst>
              <a:ext uri="{FF2B5EF4-FFF2-40B4-BE49-F238E27FC236}">
                <a16:creationId xmlns:a16="http://schemas.microsoft.com/office/drawing/2014/main" id="{0AA687AB-31EA-4298-B681-8856CB31E92C}"/>
              </a:ext>
            </a:extLst>
          </p:cNvPr>
          <p:cNvSpPr/>
          <p:nvPr/>
        </p:nvSpPr>
        <p:spPr>
          <a:xfrm>
            <a:off x="8571690" y="1053230"/>
            <a:ext cx="4226" cy="41"/>
          </a:xfrm>
          <a:custGeom>
            <a:avLst/>
            <a:gdLst>
              <a:gd name="connsiteX0" fmla="*/ 0 w 1671"/>
              <a:gd name="connsiteY0" fmla="*/ 17 h 16"/>
              <a:gd name="connsiteX1" fmla="*/ 0 w 1671"/>
              <a:gd name="connsiteY1" fmla="*/ 0 h 16"/>
              <a:gd name="connsiteX2" fmla="*/ 0 w 1671"/>
              <a:gd name="connsiteY2" fmla="*/ 17 h 16"/>
              <a:gd name="connsiteX3" fmla="*/ 0 w 1671"/>
              <a:gd name="connsiteY3" fmla="*/ 17 h 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1" h="16">
                <a:moveTo>
                  <a:pt x="0" y="17"/>
                </a:moveTo>
                <a:lnTo>
                  <a:pt x="0" y="0"/>
                </a:lnTo>
                <a:lnTo>
                  <a:pt x="0" y="17"/>
                </a:lnTo>
                <a:lnTo>
                  <a:pt x="0" y="17"/>
                </a:lnTo>
                <a:close/>
              </a:path>
            </a:pathLst>
          </a:custGeom>
          <a:solidFill>
            <a:srgbClr val="A7C70E"/>
          </a:solidFill>
          <a:ln w="1669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61B9A90-182E-49A3-8BF5-04F32288137B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576000" y="1674395"/>
            <a:ext cx="11039998" cy="42031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Leestekst</a:t>
            </a:r>
          </a:p>
          <a:p>
            <a:pPr lvl="4"/>
            <a:r>
              <a:rPr lang="nl-NL" noProof="0" dirty="0"/>
              <a:t>Kop #1</a:t>
            </a:r>
          </a:p>
          <a:p>
            <a:pPr lvl="5"/>
            <a:r>
              <a:rPr lang="nl-NL" noProof="0" dirty="0"/>
              <a:t>Kop #2</a:t>
            </a:r>
          </a:p>
          <a:p>
            <a:pPr lvl="6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Alfabetisch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8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CC0954C-56F0-4481-AEFC-476FD5516A05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258600" y="7509241"/>
            <a:ext cx="2933400" cy="1073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93B2B64-2362-45C8-9E78-5ECAAAF3478D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214051" y="6656739"/>
            <a:ext cx="4114800" cy="1073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5549FE6F-67CB-4243-BE03-A9A3C4007850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330553" y="6656739"/>
            <a:ext cx="284597" cy="1073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 b="1">
                <a:solidFill>
                  <a:schemeClr val="accent1"/>
                </a:solidFill>
                <a:latin typeface="+mn-lt"/>
              </a:defRPr>
            </a:lvl1pPr>
          </a:lstStyle>
          <a:p>
            <a:fld id="{D7B5DC5B-6873-43DB-ADC7-B15ACCE0DFDB}" type="slidenum">
              <a:rPr lang="nl-NL" smtClean="0"/>
              <a:pPr/>
              <a:t>‹nr.›</a:t>
            </a:fld>
            <a:endParaRPr lang="nl-NL" dirty="0"/>
          </a:p>
        </p:txBody>
      </p:sp>
      <p:grpSp>
        <p:nvGrpSpPr>
          <p:cNvPr id="19" name="GRID" hidden="1">
            <a:extLst>
              <a:ext uri="{FF2B5EF4-FFF2-40B4-BE49-F238E27FC236}">
                <a16:creationId xmlns:a16="http://schemas.microsoft.com/office/drawing/2014/main" id="{17446CF1-2415-4785-8B28-40140952600C}"/>
              </a:ext>
            </a:extLst>
          </p:cNvPr>
          <p:cNvGrpSpPr/>
          <p:nvPr userDrawn="1"/>
        </p:nvGrpSpPr>
        <p:grpSpPr>
          <a:xfrm>
            <a:off x="-12032" y="0"/>
            <a:ext cx="12204032" cy="6858000"/>
            <a:chOff x="-12032" y="0"/>
            <a:chExt cx="12204032" cy="6858000"/>
          </a:xfrm>
          <a:solidFill>
            <a:schemeClr val="tx1">
              <a:alpha val="20000"/>
            </a:schemeClr>
          </a:solidFill>
        </p:grpSpPr>
        <p:sp>
          <p:nvSpPr>
            <p:cNvPr id="74" name="Rechthoek 73">
              <a:extLst>
                <a:ext uri="{FF2B5EF4-FFF2-40B4-BE49-F238E27FC236}">
                  <a16:creationId xmlns:a16="http://schemas.microsoft.com/office/drawing/2014/main" id="{1E0404DF-AF03-4980-BF93-778FEA420EDD}"/>
                </a:ext>
              </a:extLst>
            </p:cNvPr>
            <p:cNvSpPr/>
            <p:nvPr userDrawn="1"/>
          </p:nvSpPr>
          <p:spPr>
            <a:xfrm>
              <a:off x="0" y="1090192"/>
              <a:ext cx="12192000" cy="5842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3E7A8B78-FB56-4265-9407-FC697581D7D1}"/>
                </a:ext>
              </a:extLst>
            </p:cNvPr>
            <p:cNvSpPr/>
            <p:nvPr userDrawn="1"/>
          </p:nvSpPr>
          <p:spPr>
            <a:xfrm>
              <a:off x="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9C5C6DC1-DADA-49E6-B1E0-6CB2665D8B37}"/>
                </a:ext>
              </a:extLst>
            </p:cNvPr>
            <p:cNvSpPr/>
            <p:nvPr userDrawn="1"/>
          </p:nvSpPr>
          <p:spPr>
            <a:xfrm>
              <a:off x="11616000" y="0"/>
              <a:ext cx="576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5" name="Rechthoek 24">
              <a:extLst>
                <a:ext uri="{FF2B5EF4-FFF2-40B4-BE49-F238E27FC236}">
                  <a16:creationId xmlns:a16="http://schemas.microsoft.com/office/drawing/2014/main" id="{EF87E70F-75AF-432B-B6A2-CF0AD4EC2CE3}"/>
                </a:ext>
              </a:extLst>
            </p:cNvPr>
            <p:cNvSpPr/>
            <p:nvPr userDrawn="1"/>
          </p:nvSpPr>
          <p:spPr>
            <a:xfrm>
              <a:off x="0" y="657000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6BE35104-F202-4806-B369-B2BFC15CFEC7}"/>
                </a:ext>
              </a:extLst>
            </p:cNvPr>
            <p:cNvSpPr/>
            <p:nvPr userDrawn="1"/>
          </p:nvSpPr>
          <p:spPr>
            <a:xfrm>
              <a:off x="-12032" y="5882155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4841B6B5-F36A-4760-9B52-2C992059C5B4}"/>
                </a:ext>
              </a:extLst>
            </p:cNvPr>
            <p:cNvSpPr/>
            <p:nvPr userDrawn="1"/>
          </p:nvSpPr>
          <p:spPr>
            <a:xfrm>
              <a:off x="0" y="0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27" name="Rechthoek 26">
              <a:extLst>
                <a:ext uri="{FF2B5EF4-FFF2-40B4-BE49-F238E27FC236}">
                  <a16:creationId xmlns:a16="http://schemas.microsoft.com/office/drawing/2014/main" id="{EF35E6C3-22F2-4AF1-AC6D-FAF9393C1DF3}"/>
                </a:ext>
              </a:extLst>
            </p:cNvPr>
            <p:cNvSpPr/>
            <p:nvPr userDrawn="1"/>
          </p:nvSpPr>
          <p:spPr>
            <a:xfrm>
              <a:off x="1190400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30" name="Rechthoek 29">
              <a:extLst>
                <a:ext uri="{FF2B5EF4-FFF2-40B4-BE49-F238E27FC236}">
                  <a16:creationId xmlns:a16="http://schemas.microsoft.com/office/drawing/2014/main" id="{3A50D8C6-D421-42A5-A8FC-C67A5B272ACD}"/>
                </a:ext>
              </a:extLst>
            </p:cNvPr>
            <p:cNvSpPr/>
            <p:nvPr userDrawn="1"/>
          </p:nvSpPr>
          <p:spPr>
            <a:xfrm>
              <a:off x="0" y="0"/>
              <a:ext cx="288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62" name="Rechthoek 61">
              <a:extLst>
                <a:ext uri="{FF2B5EF4-FFF2-40B4-BE49-F238E27FC236}">
                  <a16:creationId xmlns:a16="http://schemas.microsoft.com/office/drawing/2014/main" id="{487B9D77-6197-48AA-BB04-8ADFCEDCA408}"/>
                </a:ext>
              </a:extLst>
            </p:cNvPr>
            <p:cNvSpPr/>
            <p:nvPr userDrawn="1"/>
          </p:nvSpPr>
          <p:spPr>
            <a:xfrm>
              <a:off x="0" y="6282000"/>
              <a:ext cx="12192000" cy="57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  <p:sp>
          <p:nvSpPr>
            <p:cNvPr id="73" name="Rechthoek 72">
              <a:extLst>
                <a:ext uri="{FF2B5EF4-FFF2-40B4-BE49-F238E27FC236}">
                  <a16:creationId xmlns:a16="http://schemas.microsoft.com/office/drawing/2014/main" id="{1B000387-3A9F-4948-A66F-1038CFEBD8A2}"/>
                </a:ext>
              </a:extLst>
            </p:cNvPr>
            <p:cNvSpPr/>
            <p:nvPr userDrawn="1"/>
          </p:nvSpPr>
          <p:spPr>
            <a:xfrm>
              <a:off x="0" y="1090192"/>
              <a:ext cx="12192000" cy="28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 dirty="0"/>
            </a:p>
          </p:txBody>
        </p:sp>
      </p:grpSp>
      <p:pic>
        <p:nvPicPr>
          <p:cNvPr id="8" name="LOGO">
            <a:extLst>
              <a:ext uri="{FF2B5EF4-FFF2-40B4-BE49-F238E27FC236}">
                <a16:creationId xmlns:a16="http://schemas.microsoft.com/office/drawing/2014/main" id="{62FC664B-3502-409A-9E41-A60290C161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19165" y="299640"/>
            <a:ext cx="563569" cy="56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131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807" r:id="rId2"/>
    <p:sldLayoutId id="2147483808" r:id="rId3"/>
    <p:sldLayoutId id="2147483804" r:id="rId4"/>
    <p:sldLayoutId id="2147483809" r:id="rId5"/>
    <p:sldLayoutId id="2147483757" r:id="rId6"/>
    <p:sldLayoutId id="2147483811" r:id="rId7"/>
    <p:sldLayoutId id="2147483812" r:id="rId8"/>
    <p:sldLayoutId id="2147483810" r:id="rId9"/>
    <p:sldLayoutId id="2147483784" r:id="rId10"/>
    <p:sldLayoutId id="2147483782" r:id="rId11"/>
    <p:sldLayoutId id="2147483783" r:id="rId12"/>
    <p:sldLayoutId id="2147483691" r:id="rId13"/>
    <p:sldLayoutId id="2147483805" r:id="rId14"/>
    <p:sldLayoutId id="2147483736" r:id="rId15"/>
    <p:sldLayoutId id="2147483806" r:id="rId16"/>
    <p:sldLayoutId id="2147483785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spcAft>
          <a:spcPts val="1000"/>
        </a:spcAft>
        <a:buClr>
          <a:schemeClr val="accent1"/>
        </a:buClr>
        <a:buFont typeface="Calibri Light" panose="020F0302020204030204" pitchFamily="34" charset="0"/>
        <a:buChar char="●"/>
        <a:defRPr sz="14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542925" indent="-277813" algn="l" defTabSz="914400" rtl="0" eaLnBrk="1" latinLnBrk="0" hangingPunct="1">
        <a:lnSpc>
          <a:spcPct val="90000"/>
        </a:lnSpc>
        <a:spcBef>
          <a:spcPts val="1000"/>
        </a:spcBef>
        <a:spcAft>
          <a:spcPts val="1000"/>
        </a:spcAft>
        <a:buClr>
          <a:schemeClr val="accent2"/>
        </a:buClr>
        <a:buFont typeface="Calibri Light" panose="020F0302020204030204" pitchFamily="34" charset="0"/>
        <a:buChar char="●"/>
        <a:tabLst/>
        <a:defRPr sz="14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712788" indent="-169863" algn="l" defTabSz="914400" rtl="0" eaLnBrk="1" latinLnBrk="0" hangingPunct="1">
        <a:lnSpc>
          <a:spcPct val="90000"/>
        </a:lnSpc>
        <a:spcBef>
          <a:spcPts val="1000"/>
        </a:spcBef>
        <a:spcAft>
          <a:spcPts val="1000"/>
        </a:spcAft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1000"/>
        </a:spcAft>
        <a:buFont typeface="Arial" panose="020B0604020202020204" pitchFamily="34" charset="0"/>
        <a:buNone/>
        <a:defRPr sz="14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600" b="0" kern="1200" cap="none" baseline="0">
          <a:solidFill>
            <a:schemeClr val="accent1"/>
          </a:solidFill>
          <a:latin typeface="+mj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sz="1800" b="1" kern="1200" cap="none" baseline="0">
          <a:solidFill>
            <a:schemeClr val="tx2"/>
          </a:solidFill>
          <a:latin typeface="+mj-lt"/>
          <a:ea typeface="+mn-ea"/>
          <a:cs typeface="+mn-cs"/>
        </a:defRPr>
      </a:lvl6pPr>
      <a:lvl7pPr marL="342900" indent="-342900" algn="l" defTabSz="914400" rtl="0" eaLnBrk="1" latinLnBrk="0" hangingPunct="1">
        <a:lnSpc>
          <a:spcPct val="90000"/>
        </a:lnSpc>
        <a:spcBef>
          <a:spcPts val="1000"/>
        </a:spcBef>
        <a:spcAft>
          <a:spcPts val="1000"/>
        </a:spcAft>
        <a:buClr>
          <a:schemeClr val="accent1"/>
        </a:buClr>
        <a:buFont typeface="+mj-lt"/>
        <a:buAutoNum type="arabicPeriod"/>
        <a:tabLst/>
        <a:defRPr sz="1400" kern="1200">
          <a:solidFill>
            <a:schemeClr val="accent3"/>
          </a:solidFill>
          <a:latin typeface="+mn-lt"/>
          <a:ea typeface="+mn-ea"/>
          <a:cs typeface="+mn-cs"/>
        </a:defRPr>
      </a:lvl7pPr>
      <a:lvl8pPr marL="342900" indent="-342900" algn="l" defTabSz="914400" rtl="0" eaLnBrk="1" latinLnBrk="0" hangingPunct="1">
        <a:lnSpc>
          <a:spcPct val="90000"/>
        </a:lnSpc>
        <a:spcBef>
          <a:spcPts val="1000"/>
        </a:spcBef>
        <a:spcAft>
          <a:spcPts val="1000"/>
        </a:spcAft>
        <a:buClr>
          <a:schemeClr val="accent1"/>
        </a:buClr>
        <a:buFont typeface="+mj-lt"/>
        <a:buAutoNum type="alphaLcPeriod"/>
        <a:defRPr sz="1400" kern="1200">
          <a:solidFill>
            <a:schemeClr val="accent3"/>
          </a:solidFill>
          <a:latin typeface="+mn-lt"/>
          <a:ea typeface="+mn-ea"/>
          <a:cs typeface="+mn-cs"/>
        </a:defRPr>
      </a:lvl8pPr>
      <a:lvl9pPr marL="542925" indent="-182563" algn="l" defTabSz="914400" rtl="0" eaLnBrk="1" latinLnBrk="0" hangingPunct="1">
        <a:lnSpc>
          <a:spcPct val="90000"/>
        </a:lnSpc>
        <a:spcBef>
          <a:spcPts val="1000"/>
        </a:spcBef>
        <a:spcAft>
          <a:spcPts val="1000"/>
        </a:spcAft>
        <a:buClr>
          <a:schemeClr val="accent3"/>
        </a:buClr>
        <a:buFont typeface="Arial" panose="020B0604020202020204" pitchFamily="34" charset="0"/>
        <a:buChar char="•"/>
        <a:defRPr sz="1400" i="0" kern="120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362" userDrawn="1">
          <p15:clr>
            <a:srgbClr val="F26B43"/>
          </p15:clr>
        </p15:guide>
        <p15:guide id="3" orient="horz" pos="3702" userDrawn="1">
          <p15:clr>
            <a:srgbClr val="F26B43"/>
          </p15:clr>
        </p15:guide>
        <p15:guide id="4" orient="horz" pos="3884" userDrawn="1">
          <p15:clr>
            <a:srgbClr val="A4A3A4"/>
          </p15:clr>
        </p15:guide>
        <p15:guide id="5" orient="horz" pos="3952" userDrawn="1">
          <p15:clr>
            <a:srgbClr val="A4A3A4"/>
          </p15:clr>
        </p15:guide>
        <p15:guide id="6" pos="7310" userDrawn="1">
          <p15:clr>
            <a:srgbClr val="F26B43"/>
          </p15:clr>
        </p15:guide>
        <p15:guide id="7" orient="horz" pos="683" userDrawn="1">
          <p15:clr>
            <a:srgbClr val="9FCC3B"/>
          </p15:clr>
        </p15:guide>
        <p15:guide id="8" orient="horz" pos="464" userDrawn="1">
          <p15:clr>
            <a:srgbClr val="C35EA4"/>
          </p15:clr>
        </p15:guide>
        <p15:guide id="9" pos="181" userDrawn="1">
          <p15:clr>
            <a:srgbClr val="A4A3A4"/>
          </p15:clr>
        </p15:guide>
        <p15:guide id="11" orient="horz" pos="181" userDrawn="1">
          <p15:clr>
            <a:srgbClr val="C35EA4"/>
          </p15:clr>
        </p15:guide>
        <p15:guide id="12" orient="horz" pos="4133" userDrawn="1">
          <p15:clr>
            <a:srgbClr val="A4A3A4"/>
          </p15:clr>
        </p15:guide>
        <p15:guide id="13" pos="7491" userDrawn="1">
          <p15:clr>
            <a:srgbClr val="A4A3A4"/>
          </p15:clr>
        </p15:guide>
        <p15:guide id="14" orient="horz" pos="10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7.xml"/><Relationship Id="rId4" Type="http://schemas.openxmlformats.org/officeDocument/2006/relationships/chart" Target="../charts/char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7.xml"/><Relationship Id="rId6" Type="http://schemas.openxmlformats.org/officeDocument/2006/relationships/hyperlink" Target="mailto:samen@buurtnet.com" TargetMode="Externa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buurtnet.com" TargetMode="Externa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telegraaf.nl/financieel/1639506770/netbeheerder-wil-laadpaalverbod-wordt-consument-bij-piekmoment-weggelokt" TargetMode="External"/><Relationship Id="rId11" Type="http://schemas.openxmlformats.org/officeDocument/2006/relationships/image" Target="../media/image18.png"/><Relationship Id="rId5" Type="http://schemas.openxmlformats.org/officeDocument/2006/relationships/image" Target="../media/image14.png"/><Relationship Id="rId10" Type="http://schemas.openxmlformats.org/officeDocument/2006/relationships/hyperlink" Target="https://www.destentor.nl/home/laadpalen-dagelijks-uitzetten-in-strijd-tegen-vol-stroomnet-raak-je-elektrische-rijders-hard-mee~a8178d8a/" TargetMode="External"/><Relationship Id="rId4" Type="http://schemas.openxmlformats.org/officeDocument/2006/relationships/image" Target="../media/image13.png"/><Relationship Id="rId9" Type="http://schemas.openxmlformats.org/officeDocument/2006/relationships/image" Target="../media/image1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0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Tijdelijke aanduiding voor afbeelding 34">
            <a:extLst>
              <a:ext uri="{FF2B5EF4-FFF2-40B4-BE49-F238E27FC236}">
                <a16:creationId xmlns:a16="http://schemas.microsoft.com/office/drawing/2014/main" id="{319CE217-DD94-4641-B492-F7A39A1ECF8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 r="68"/>
          <a:stretch/>
        </p:blipFill>
        <p:spPr>
          <a:xfrm>
            <a:off x="288000" y="1377201"/>
            <a:ext cx="11597093" cy="4181221"/>
          </a:xfrm>
        </p:spPr>
      </p:pic>
      <p:sp>
        <p:nvSpPr>
          <p:cNvPr id="41" name="Tekstvak 40" hidden="1">
            <a:extLst>
              <a:ext uri="{FF2B5EF4-FFF2-40B4-BE49-F238E27FC236}">
                <a16:creationId xmlns:a16="http://schemas.microsoft.com/office/drawing/2014/main" id="{0B299F15-85C7-4996-B17B-E1B60F743D37}"/>
              </a:ext>
            </a:extLst>
          </p:cNvPr>
          <p:cNvSpPr txBox="1"/>
          <p:nvPr/>
        </p:nvSpPr>
        <p:spPr>
          <a:xfrm>
            <a:off x="287338" y="4604993"/>
            <a:ext cx="7516800" cy="885600"/>
          </a:xfrm>
          <a:prstGeom prst="rect">
            <a:avLst/>
          </a:prstGeom>
          <a:noFill/>
        </p:spPr>
        <p:txBody>
          <a:bodyPr wrap="square" lIns="576000" tIns="108000" rIns="720000" bIns="108000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2200" b="1" dirty="0">
                <a:solidFill>
                  <a:schemeClr val="bg1"/>
                </a:solidFill>
                <a:latin typeface="+mj-lt"/>
              </a:rPr>
              <a:t>Lorem Ipsum nunc viverra imperdiet enim </a:t>
            </a:r>
            <a:br>
              <a:rPr lang="nl-NL" sz="2200" b="1" dirty="0">
                <a:solidFill>
                  <a:schemeClr val="bg1"/>
                </a:solidFill>
                <a:latin typeface="+mj-lt"/>
              </a:rPr>
            </a:br>
            <a:r>
              <a:rPr lang="nl-NL" sz="2200" b="1" dirty="0">
                <a:solidFill>
                  <a:schemeClr val="bg1"/>
                </a:solidFill>
                <a:latin typeface="+mj-lt"/>
              </a:rPr>
              <a:t>fusce est vivamus a tellus</a:t>
            </a:r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6E30B649-94F5-4DF3-83D9-77058965A9BF}"/>
              </a:ext>
            </a:extLst>
          </p:cNvPr>
          <p:cNvSpPr/>
          <p:nvPr/>
        </p:nvSpPr>
        <p:spPr>
          <a:xfrm flipV="1">
            <a:off x="0" y="6570660"/>
            <a:ext cx="12191999" cy="2937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 err="1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DB25861-C452-47FD-B6E7-CCF290C7BFCA}"/>
              </a:ext>
            </a:extLst>
          </p:cNvPr>
          <p:cNvGrpSpPr/>
          <p:nvPr/>
        </p:nvGrpSpPr>
        <p:grpSpPr>
          <a:xfrm>
            <a:off x="574675" y="4066338"/>
            <a:ext cx="6600825" cy="2357322"/>
            <a:chOff x="4758174" y="3434215"/>
            <a:chExt cx="6600825" cy="2357322"/>
          </a:xfrm>
        </p:grpSpPr>
        <p:pic>
          <p:nvPicPr>
            <p:cNvPr id="26" name="Afbeelding 25">
              <a:extLst>
                <a:ext uri="{FF2B5EF4-FFF2-40B4-BE49-F238E27FC236}">
                  <a16:creationId xmlns:a16="http://schemas.microsoft.com/office/drawing/2014/main" id="{D46AC169-2799-4834-B33E-5D21643F9B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4" t="13312" r="87619" b="28722"/>
            <a:stretch/>
          </p:blipFill>
          <p:spPr>
            <a:xfrm>
              <a:off x="4758174" y="3434215"/>
              <a:ext cx="3724977" cy="2357322"/>
            </a:xfrm>
            <a:prstGeom prst="rect">
              <a:avLst/>
            </a:prstGeom>
          </p:spPr>
        </p:pic>
        <p:pic>
          <p:nvPicPr>
            <p:cNvPr id="22" name="Afbeelding 21">
              <a:extLst>
                <a:ext uri="{FF2B5EF4-FFF2-40B4-BE49-F238E27FC236}">
                  <a16:creationId xmlns:a16="http://schemas.microsoft.com/office/drawing/2014/main" id="{A46FBA27-8D13-499B-A43C-37CB80068E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312" b="28722"/>
            <a:stretch/>
          </p:blipFill>
          <p:spPr>
            <a:xfrm>
              <a:off x="8483151" y="3434215"/>
              <a:ext cx="2875848" cy="2357322"/>
            </a:xfrm>
            <a:prstGeom prst="rect">
              <a:avLst/>
            </a:prstGeom>
          </p:spPr>
        </p:pic>
      </p:grpSp>
      <p:sp>
        <p:nvSpPr>
          <p:cNvPr id="28" name="Tekstvak 27">
            <a:extLst>
              <a:ext uri="{FF2B5EF4-FFF2-40B4-BE49-F238E27FC236}">
                <a16:creationId xmlns:a16="http://schemas.microsoft.com/office/drawing/2014/main" id="{760FFB1C-A28D-4756-BCC8-FE2CD3C60A5E}"/>
              </a:ext>
            </a:extLst>
          </p:cNvPr>
          <p:cNvSpPr txBox="1"/>
          <p:nvPr/>
        </p:nvSpPr>
        <p:spPr>
          <a:xfrm>
            <a:off x="574675" y="4066338"/>
            <a:ext cx="6600825" cy="1500072"/>
          </a:xfrm>
          <a:prstGeom prst="rect">
            <a:avLst/>
          </a:prstGeom>
          <a:noFill/>
        </p:spPr>
        <p:txBody>
          <a:bodyPr wrap="square" lIns="360000" tIns="180000" rIns="360000" bIns="144000" rtlCol="0" anchor="ctr">
            <a:noAutofit/>
          </a:bodyPr>
          <a:lstStyle/>
          <a:p>
            <a:pPr algn="l">
              <a:lnSpc>
                <a:spcPct val="90000"/>
              </a:lnSpc>
            </a:pPr>
            <a:r>
              <a:rPr lang="nl-NL" sz="4000" dirty="0">
                <a:solidFill>
                  <a:schemeClr val="bg1"/>
                </a:solidFill>
                <a:latin typeface="+mj-lt"/>
              </a:rPr>
              <a:t>Buurtnet App</a:t>
            </a:r>
          </a:p>
        </p:txBody>
      </p:sp>
      <p:sp>
        <p:nvSpPr>
          <p:cNvPr id="29" name="Tekstvak 28">
            <a:extLst>
              <a:ext uri="{FF2B5EF4-FFF2-40B4-BE49-F238E27FC236}">
                <a16:creationId xmlns:a16="http://schemas.microsoft.com/office/drawing/2014/main" id="{6EA78326-5A69-46A1-A1B9-9A612E0C9F67}"/>
              </a:ext>
            </a:extLst>
          </p:cNvPr>
          <p:cNvSpPr txBox="1"/>
          <p:nvPr/>
        </p:nvSpPr>
        <p:spPr>
          <a:xfrm>
            <a:off x="574674" y="5566410"/>
            <a:ext cx="6600825" cy="857250"/>
          </a:xfrm>
          <a:prstGeom prst="rect">
            <a:avLst/>
          </a:prstGeom>
          <a:noFill/>
        </p:spPr>
        <p:txBody>
          <a:bodyPr wrap="square" lIns="360000" tIns="144000" rIns="360000" bIns="144000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2200" b="1" dirty="0">
                <a:solidFill>
                  <a:schemeClr val="bg1"/>
                </a:solidFill>
                <a:latin typeface="+mj-lt"/>
              </a:rPr>
              <a:t>Vergoeding voorstel winter 25 – 26 </a:t>
            </a:r>
            <a:r>
              <a:rPr lang="nl-NL" sz="2200" b="1" dirty="0" err="1">
                <a:solidFill>
                  <a:schemeClr val="bg1"/>
                </a:solidFill>
                <a:latin typeface="+mj-lt"/>
              </a:rPr>
              <a:t>ev</a:t>
            </a:r>
            <a:endParaRPr lang="nl-NL" sz="22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3672673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2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D2925A43-7174-57B1-B64B-0BB69C49FA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308C015C-0B9A-1005-EA6C-F84CDAC98F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B5DC5B-6873-43DB-ADC7-B15ACCE0DFDB}" type="slidenum">
              <a:rPr lang="nl-NL" smtClean="0"/>
              <a:pPr/>
              <a:t>10</a:t>
            </a:fld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4442C2E-7A66-E2D7-94D6-E5190CD97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8194" name="Picture 2" descr="De rij voor het Anne Frank Huis op een slechte dag: helemaal op de Westerkerk.">
            <a:extLst>
              <a:ext uri="{FF2B5EF4-FFF2-40B4-BE49-F238E27FC236}">
                <a16:creationId xmlns:a16="http://schemas.microsoft.com/office/drawing/2014/main" id="{F29480D2-73E9-8AAD-FD77-193440CB5E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048" y="-6330"/>
            <a:ext cx="12200047" cy="812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6900487"/>
      </p:ext>
    </p:extLst>
  </p:cSld>
  <p:clrMapOvr>
    <a:masterClrMapping/>
  </p:clrMapOvr>
  <p:transition spd="slow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36ECB9D7-4C3F-C4DE-E115-31F7BBFD94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0C27DAF5-D38F-5FE5-4381-90B666C664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B5DC5B-6873-43DB-ADC7-B15ACCE0DFDB}" type="slidenum">
              <a:rPr lang="nl-NL" smtClean="0"/>
              <a:pPr/>
              <a:t>11</a:t>
            </a:fld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7D99C47-72E3-9FF7-3C72-4E5C8237E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iekgrafiek</a:t>
            </a: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3634ABD4-519C-2300-2F4E-ED18799639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20800"/>
            <a:ext cx="12192000" cy="421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2905122"/>
      </p:ext>
    </p:extLst>
  </p:cSld>
  <p:clrMapOvr>
    <a:masterClrMapping/>
  </p:clrMapOvr>
  <p:transition spd="slow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6F78C9-2808-7EDF-DC90-6727FDEB0F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518F1C0-4BBE-374A-0388-E49B26423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doet de netbeheerder aan congestie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F99856EB-4E34-B094-8461-6F20BF22FE69}"/>
              </a:ext>
            </a:extLst>
          </p:cNvPr>
          <p:cNvSpPr/>
          <p:nvPr/>
        </p:nvSpPr>
        <p:spPr>
          <a:xfrm>
            <a:off x="174928" y="2140961"/>
            <a:ext cx="4047624" cy="8304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1. Bouwen </a:t>
            </a:r>
            <a:r>
              <a:rPr lang="nl-NL" sz="1600" dirty="0" err="1"/>
              <a:t>bouwen</a:t>
            </a:r>
            <a:r>
              <a:rPr lang="nl-NL" sz="1600" dirty="0"/>
              <a:t> </a:t>
            </a:r>
            <a:r>
              <a:rPr lang="nl-NL" sz="1600" dirty="0" err="1"/>
              <a:t>bouwen</a:t>
            </a:r>
            <a:endParaRPr lang="nl-NL" sz="1600" dirty="0"/>
          </a:p>
        </p:txBody>
      </p:sp>
      <p:pic>
        <p:nvPicPr>
          <p:cNvPr id="10242" name="Picture 2" descr="Foto Tennet">
            <a:extLst>
              <a:ext uri="{FF2B5EF4-FFF2-40B4-BE49-F238E27FC236}">
                <a16:creationId xmlns:a16="http://schemas.microsoft.com/office/drawing/2014/main" id="{8839FA8B-934D-1A47-36B7-E8A7F20B41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928" y="2971386"/>
            <a:ext cx="4035566" cy="2364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8B0DAC52-BD49-4F76-548D-86C01D90FD25}"/>
              </a:ext>
            </a:extLst>
          </p:cNvPr>
          <p:cNvSpPr/>
          <p:nvPr/>
        </p:nvSpPr>
        <p:spPr>
          <a:xfrm>
            <a:off x="8333277" y="2124881"/>
            <a:ext cx="3683795" cy="8304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3. Stimuleren van efficiënter gebruik van het elektriciteitsnet</a:t>
            </a:r>
          </a:p>
        </p:txBody>
      </p:sp>
      <p:pic>
        <p:nvPicPr>
          <p:cNvPr id="10244" name="Picture 4" descr="Zwarte Casual Schoenen Staan Op Rood En Wit Lijn. Oversteken Van De Limiet.  Niet Gehoorzamen En Handelen Tegen De Regel. Royalty-Vrije Foto, Plaatjes,  Beelden en Stock Fotografie. Image 61041074">
            <a:extLst>
              <a:ext uri="{FF2B5EF4-FFF2-40B4-BE49-F238E27FC236}">
                <a16:creationId xmlns:a16="http://schemas.microsoft.com/office/drawing/2014/main" id="{460F665C-3E83-4E6F-2C42-B8D38C06D6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9479" y="2884578"/>
            <a:ext cx="3683795" cy="2451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24A9C7DC-7CDA-011A-2CA9-D8FEEE56EDB6}"/>
              </a:ext>
            </a:extLst>
          </p:cNvPr>
          <p:cNvSpPr/>
          <p:nvPr/>
        </p:nvSpPr>
        <p:spPr>
          <a:xfrm>
            <a:off x="4439479" y="2140960"/>
            <a:ext cx="3683795" cy="8304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2. Meer halen uit huidige net</a:t>
            </a:r>
          </a:p>
        </p:txBody>
      </p:sp>
      <p:pic>
        <p:nvPicPr>
          <p:cNvPr id="10246" name="Picture 6" descr="Verplaats je stroomverbruik: bespaar geld én help het stroomnet - DELTA  Energie: Nieuws">
            <a:extLst>
              <a:ext uri="{FF2B5EF4-FFF2-40B4-BE49-F238E27FC236}">
                <a16:creationId xmlns:a16="http://schemas.microsoft.com/office/drawing/2014/main" id="{F4C7250D-8EC6-F730-731A-13D2281EBC0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17"/>
          <a:stretch>
            <a:fillRect/>
          </a:stretch>
        </p:blipFill>
        <p:spPr bwMode="auto">
          <a:xfrm>
            <a:off x="8352259" y="2958029"/>
            <a:ext cx="3664813" cy="2391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2279073"/>
      </p:ext>
    </p:extLst>
  </p:cSld>
  <p:clrMapOvr>
    <a:masterClrMapping/>
  </p:clrMapOvr>
  <p:transition spd="slow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B04C2D-8299-02A9-FAC0-0DF8863EA9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EE5CDEF-EF40-C8A7-52B5-CB5D18A60D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oe staat het met congestie in Someren</a:t>
            </a:r>
          </a:p>
        </p:txBody>
      </p:sp>
      <p:sp>
        <p:nvSpPr>
          <p:cNvPr id="9" name="AutoShape 6" descr="Elektriciteitsnetwerk">
            <a:extLst>
              <a:ext uri="{FF2B5EF4-FFF2-40B4-BE49-F238E27FC236}">
                <a16:creationId xmlns:a16="http://schemas.microsoft.com/office/drawing/2014/main" id="{B215240E-3D0D-72DB-A133-36620AF8179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94D50E09-0BD5-0B4B-85F4-61F351B553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328529"/>
            <a:ext cx="12192000" cy="4529471"/>
          </a:xfrm>
          <a:prstGeom prst="rect">
            <a:avLst/>
          </a:prstGeom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3DAABAAD-0E45-3722-0FD3-19A1C1AB23F6}"/>
              </a:ext>
            </a:extLst>
          </p:cNvPr>
          <p:cNvSpPr/>
          <p:nvPr/>
        </p:nvSpPr>
        <p:spPr>
          <a:xfrm>
            <a:off x="372140" y="1102619"/>
            <a:ext cx="6592186" cy="1497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Probleem bij HS/MS station</a:t>
            </a:r>
          </a:p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Vooral in de zomer </a:t>
            </a:r>
          </a:p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Hoog aandeel van zonenergie door zonnepanelen op woningen</a:t>
            </a:r>
          </a:p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Aantal wijken draagt door aantal zonnepanelen significant bij</a:t>
            </a:r>
          </a:p>
        </p:txBody>
      </p:sp>
      <p:sp>
        <p:nvSpPr>
          <p:cNvPr id="13" name="Pijl: omlaag 12">
            <a:extLst>
              <a:ext uri="{FF2B5EF4-FFF2-40B4-BE49-F238E27FC236}">
                <a16:creationId xmlns:a16="http://schemas.microsoft.com/office/drawing/2014/main" id="{55C1C74E-7E85-4655-0456-E81F42C7F309}"/>
              </a:ext>
            </a:extLst>
          </p:cNvPr>
          <p:cNvSpPr/>
          <p:nvPr/>
        </p:nvSpPr>
        <p:spPr>
          <a:xfrm>
            <a:off x="7389627" y="4423144"/>
            <a:ext cx="659219" cy="446568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 err="1"/>
          </a:p>
        </p:txBody>
      </p:sp>
    </p:spTree>
    <p:extLst>
      <p:ext uri="{BB962C8B-B14F-4D97-AF65-F5344CB8AC3E}">
        <p14:creationId xmlns:p14="http://schemas.microsoft.com/office/powerpoint/2010/main" val="1808231784"/>
      </p:ext>
    </p:extLst>
  </p:cSld>
  <p:clrMapOvr>
    <a:masterClrMapping/>
  </p:clrMapOvr>
  <p:transition spd="slow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CF30DD-8AAD-680E-73BF-03818C53BC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4CF492D-D4A0-F112-B9CC-F38DC2B75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e Buurtnet App</a:t>
            </a:r>
          </a:p>
        </p:txBody>
      </p:sp>
      <p:pic>
        <p:nvPicPr>
          <p:cNvPr id="5" name="Picture 6" descr="A group of cars parked in a row&#10;&#10;AI-generated content may be incorrect.">
            <a:extLst>
              <a:ext uri="{FF2B5EF4-FFF2-40B4-BE49-F238E27FC236}">
                <a16:creationId xmlns:a16="http://schemas.microsoft.com/office/drawing/2014/main" id="{F571274F-69B8-96CB-8EAB-09675832EA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80666" y="603060"/>
            <a:ext cx="2504126" cy="5462967"/>
          </a:xfrm>
          <a:prstGeom prst="rect">
            <a:avLst/>
          </a:prstGeom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8410F64A-0F20-2246-7644-4A96156BA95C}"/>
              </a:ext>
            </a:extLst>
          </p:cNvPr>
          <p:cNvSpPr txBox="1"/>
          <p:nvPr/>
        </p:nvSpPr>
        <p:spPr>
          <a:xfrm>
            <a:off x="347078" y="1776786"/>
            <a:ext cx="5734893" cy="5747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2400" dirty="0">
                <a:latin typeface="+mj-lt"/>
              </a:rPr>
              <a:t>De netbeheerders Enexis, </a:t>
            </a:r>
            <a:r>
              <a:rPr lang="nl-NL" sz="2400" dirty="0" err="1">
                <a:latin typeface="+mj-lt"/>
              </a:rPr>
              <a:t>Alliander</a:t>
            </a:r>
            <a:r>
              <a:rPr lang="nl-NL" sz="2400" dirty="0">
                <a:latin typeface="+mj-lt"/>
              </a:rPr>
              <a:t> en </a:t>
            </a:r>
            <a:r>
              <a:rPr lang="nl-NL" sz="2400" dirty="0" err="1">
                <a:latin typeface="+mj-lt"/>
              </a:rPr>
              <a:t>Stedin</a:t>
            </a:r>
            <a:r>
              <a:rPr lang="nl-NL" sz="2400" dirty="0">
                <a:latin typeface="+mj-lt"/>
              </a:rPr>
              <a:t> hebben samen een app ontwikkelt als </a:t>
            </a:r>
            <a:r>
              <a:rPr lang="nl-NL" sz="2400" b="1" dirty="0">
                <a:solidFill>
                  <a:schemeClr val="accent1"/>
                </a:solidFill>
                <a:latin typeface="+mj-lt"/>
              </a:rPr>
              <a:t>pilot</a:t>
            </a:r>
          </a:p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2400" dirty="0">
                <a:latin typeface="+mj-lt"/>
              </a:rPr>
              <a:t>Doel om </a:t>
            </a:r>
            <a:r>
              <a:rPr lang="nl-NL" sz="2400" b="1" dirty="0">
                <a:solidFill>
                  <a:schemeClr val="accent1"/>
                </a:solidFill>
                <a:latin typeface="+mj-lt"/>
              </a:rPr>
              <a:t>bewoners te informeren</a:t>
            </a:r>
            <a:r>
              <a:rPr lang="nl-NL" sz="2400" dirty="0">
                <a:latin typeface="+mj-lt"/>
              </a:rPr>
              <a:t> en betrekken bij overbelasting in hun wijk door inzicht te geven in de momenten dat overbelasting speelt en te informeren over hoe ze kunnen bijdragen aan het verminderen van de problematiek</a:t>
            </a:r>
          </a:p>
        </p:txBody>
      </p:sp>
    </p:spTree>
    <p:extLst>
      <p:ext uri="{BB962C8B-B14F-4D97-AF65-F5344CB8AC3E}">
        <p14:creationId xmlns:p14="http://schemas.microsoft.com/office/powerpoint/2010/main" val="3458443660"/>
      </p:ext>
    </p:extLst>
  </p:cSld>
  <p:clrMapOvr>
    <a:masterClrMapping/>
  </p:clrMapOvr>
  <p:transition spd="slow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9E7B8D-8FD5-A064-3FC2-40057F9DD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A screenshot of a phone&#10;&#10;AI-generated content may be incorrect.">
            <a:extLst>
              <a:ext uri="{FF2B5EF4-FFF2-40B4-BE49-F238E27FC236}">
                <a16:creationId xmlns:a16="http://schemas.microsoft.com/office/drawing/2014/main" id="{73CD95EA-9ABF-B955-699A-A41A458B54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8069" y="-30038"/>
            <a:ext cx="3172549" cy="6888038"/>
          </a:xfrm>
          <a:prstGeom prst="rect">
            <a:avLst/>
          </a:prstGeom>
        </p:spPr>
      </p:pic>
      <p:pic>
        <p:nvPicPr>
          <p:cNvPr id="4" name="Picture 5" descr="A screenshot of a phone&#10;&#10;AI-generated content may be incorrect.">
            <a:extLst>
              <a:ext uri="{FF2B5EF4-FFF2-40B4-BE49-F238E27FC236}">
                <a16:creationId xmlns:a16="http://schemas.microsoft.com/office/drawing/2014/main" id="{DE4F0723-A1C1-0743-7487-7169771718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5430" y="0"/>
            <a:ext cx="3172550" cy="6888040"/>
          </a:xfrm>
          <a:prstGeom prst="rect">
            <a:avLst/>
          </a:prstGeom>
        </p:spPr>
      </p:pic>
      <p:sp>
        <p:nvSpPr>
          <p:cNvPr id="14" name="Tekstvak 13">
            <a:extLst>
              <a:ext uri="{FF2B5EF4-FFF2-40B4-BE49-F238E27FC236}">
                <a16:creationId xmlns:a16="http://schemas.microsoft.com/office/drawing/2014/main" id="{87A48857-D673-6B4C-CC52-202B7F096B61}"/>
              </a:ext>
            </a:extLst>
          </p:cNvPr>
          <p:cNvSpPr txBox="1"/>
          <p:nvPr/>
        </p:nvSpPr>
        <p:spPr>
          <a:xfrm>
            <a:off x="361382" y="1085906"/>
            <a:ext cx="4352858" cy="15353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2400" dirty="0">
                <a:latin typeface="+mj-lt"/>
              </a:rPr>
              <a:t>Pilot in drie wijken in Someren tussen 13 juni en augustus met eerste versie van de app met 112 deelnemers</a:t>
            </a:r>
            <a:endParaRPr lang="nl-NL" sz="2400" b="1" dirty="0">
              <a:solidFill>
                <a:schemeClr val="accent1"/>
              </a:solidFill>
              <a:latin typeface="+mj-lt"/>
            </a:endParaRPr>
          </a:p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nl-NL" sz="2400" dirty="0">
              <a:latin typeface="+mj-lt"/>
            </a:endParaRPr>
          </a:p>
        </p:txBody>
      </p:sp>
      <p:graphicFrame>
        <p:nvGraphicFramePr>
          <p:cNvPr id="15" name="Grafiek 14">
            <a:extLst>
              <a:ext uri="{FF2B5EF4-FFF2-40B4-BE49-F238E27FC236}">
                <a16:creationId xmlns:a16="http://schemas.microsoft.com/office/drawing/2014/main" id="{CD69F5AB-325A-4CB6-DBA2-70A09BEBBD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8208603"/>
              </p:ext>
            </p:extLst>
          </p:nvPr>
        </p:nvGraphicFramePr>
        <p:xfrm>
          <a:off x="777239" y="2799697"/>
          <a:ext cx="3090568" cy="3902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421864139"/>
      </p:ext>
    </p:extLst>
  </p:cSld>
  <p:clrMapOvr>
    <a:masterClrMapping/>
  </p:clrMapOvr>
  <p:transition spd="slow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49BE3FF5-8E77-65AC-F6FC-6C0D4A7CCA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FBC25C37-BE7A-A5CF-FA8B-BB9E0CFB53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B5DC5B-6873-43DB-ADC7-B15ACCE0DFDB}" type="slidenum">
              <a:rPr lang="nl-NL" smtClean="0"/>
              <a:pPr/>
              <a:t>16</a:t>
            </a:fld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B31620D-CAC1-302D-2201-10CBD5944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DC1CEF49-39ED-0835-513C-B3C357EF22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82" y="0"/>
            <a:ext cx="12162436" cy="6858000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8" name="Inkt 7">
                <a:extLst>
                  <a:ext uri="{FF2B5EF4-FFF2-40B4-BE49-F238E27FC236}">
                    <a16:creationId xmlns:a16="http://schemas.microsoft.com/office/drawing/2014/main" id="{02EF5867-6C0C-FE0D-9C62-377CFC902154}"/>
                  </a:ext>
                </a:extLst>
              </p14:cNvPr>
              <p14:cNvContentPartPr/>
              <p14:nvPr/>
            </p14:nvContentPartPr>
            <p14:xfrm>
              <a:off x="3635760" y="1503640"/>
              <a:ext cx="2491200" cy="3304080"/>
            </p14:xfrm>
          </p:contentPart>
        </mc:Choice>
        <mc:Fallback>
          <p:pic>
            <p:nvPicPr>
              <p:cNvPr id="8" name="Inkt 7">
                <a:extLst>
                  <a:ext uri="{FF2B5EF4-FFF2-40B4-BE49-F238E27FC236}">
                    <a16:creationId xmlns:a16="http://schemas.microsoft.com/office/drawing/2014/main" id="{02EF5867-6C0C-FE0D-9C62-377CFC902154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599760" y="1467640"/>
                <a:ext cx="2562840" cy="3375720"/>
              </a:xfrm>
              <a:prstGeom prst="rect">
                <a:avLst/>
              </a:prstGeom>
            </p:spPr>
          </p:pic>
        </mc:Fallback>
      </mc:AlternateContent>
      <p:sp>
        <p:nvSpPr>
          <p:cNvPr id="9" name="Rechthoek 8">
            <a:extLst>
              <a:ext uri="{FF2B5EF4-FFF2-40B4-BE49-F238E27FC236}">
                <a16:creationId xmlns:a16="http://schemas.microsoft.com/office/drawing/2014/main" id="{E7B0A432-F264-4D97-2C80-4FB1E1D5FB1C}"/>
              </a:ext>
            </a:extLst>
          </p:cNvPr>
          <p:cNvSpPr/>
          <p:nvPr/>
        </p:nvSpPr>
        <p:spPr>
          <a:xfrm>
            <a:off x="7874000" y="1696720"/>
            <a:ext cx="2814320" cy="22656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Deelnemende wijken:</a:t>
            </a:r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 err="1"/>
              <a:t>Waterdael</a:t>
            </a:r>
            <a:r>
              <a:rPr lang="nl-NL" sz="1600" dirty="0"/>
              <a:t> I, II, III</a:t>
            </a:r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Someren Centrum</a:t>
            </a:r>
          </a:p>
        </p:txBody>
      </p:sp>
    </p:spTree>
    <p:extLst>
      <p:ext uri="{BB962C8B-B14F-4D97-AF65-F5344CB8AC3E}">
        <p14:creationId xmlns:p14="http://schemas.microsoft.com/office/powerpoint/2010/main" val="2888523515"/>
      </p:ext>
    </p:extLst>
  </p:cSld>
  <p:clrMapOvr>
    <a:masterClrMapping/>
  </p:clrMapOvr>
  <p:transition spd="slow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EADDD6-7830-CCC0-E086-89D375E415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5368CAE-5D39-11B9-4E0D-DFD35B6470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Resultaten van de pilot</a:t>
            </a:r>
          </a:p>
        </p:txBody>
      </p:sp>
      <p:graphicFrame>
        <p:nvGraphicFramePr>
          <p:cNvPr id="6" name="Grafiek 5">
            <a:extLst>
              <a:ext uri="{FF2B5EF4-FFF2-40B4-BE49-F238E27FC236}">
                <a16:creationId xmlns:a16="http://schemas.microsoft.com/office/drawing/2014/main" id="{B5707458-0AC8-7B35-A0C6-9118407D42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82325437"/>
              </p:ext>
            </p:extLst>
          </p:nvPr>
        </p:nvGraphicFramePr>
        <p:xfrm>
          <a:off x="967739" y="1477975"/>
          <a:ext cx="3090568" cy="3902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kstvak 10">
            <a:extLst>
              <a:ext uri="{FF2B5EF4-FFF2-40B4-BE49-F238E27FC236}">
                <a16:creationId xmlns:a16="http://schemas.microsoft.com/office/drawing/2014/main" id="{8194E51F-426C-1459-66BA-391EFF751642}"/>
              </a:ext>
            </a:extLst>
          </p:cNvPr>
          <p:cNvSpPr txBox="1"/>
          <p:nvPr/>
        </p:nvSpPr>
        <p:spPr>
          <a:xfrm>
            <a:off x="5702300" y="1625600"/>
            <a:ext cx="4953000" cy="149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2400" b="1" dirty="0">
                <a:latin typeface="+mj-lt"/>
              </a:rPr>
              <a:t>Belangrijkste conclusies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2400" dirty="0">
                <a:latin typeface="+mj-lt"/>
              </a:rPr>
              <a:t>Gemiddeld wordt de app ca drie weken gebruikt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2400" dirty="0">
                <a:latin typeface="+mj-lt"/>
              </a:rPr>
              <a:t>Eigenlijk te weinig te bieden om gebruikers lang te betrekken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2400" dirty="0">
                <a:latin typeface="+mj-lt"/>
              </a:rPr>
              <a:t>Diverse verbetersuggesties om de app langer relevant te houden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l-NL" sz="2400" dirty="0">
              <a:latin typeface="+mj-lt"/>
            </a:endParaRPr>
          </a:p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nl-NL" sz="2400" dirty="0" err="1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68896154"/>
      </p:ext>
    </p:extLst>
  </p:cSld>
  <p:clrMapOvr>
    <a:masterClrMapping/>
  </p:clrMapOvr>
  <p:transition spd="slow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A42664-9C66-FD64-4E5F-FBA2CDFA29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C2E5270-73AD-91F9-3EA8-89B73DB54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e pilot van komende winter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06C6A32-6601-BD8A-3FF5-6C7D675541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3024" y="-1"/>
            <a:ext cx="3160075" cy="6849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035F8204-D216-5AA9-7E55-125E9323386B}"/>
              </a:ext>
            </a:extLst>
          </p:cNvPr>
          <p:cNvSpPr txBox="1"/>
          <p:nvPr/>
        </p:nvSpPr>
        <p:spPr>
          <a:xfrm>
            <a:off x="965924" y="1926267"/>
            <a:ext cx="4953000" cy="149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indent="-45720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</a:pPr>
            <a:r>
              <a:rPr lang="nl-NL" sz="2400" dirty="0">
                <a:latin typeface="+mj-lt"/>
              </a:rPr>
              <a:t>Sterk verbeterde app</a:t>
            </a:r>
          </a:p>
          <a:p>
            <a:pPr marL="457200" indent="-45720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</a:pPr>
            <a:endParaRPr lang="nl-NL" sz="2400" dirty="0">
              <a:latin typeface="+mj-lt"/>
            </a:endParaRPr>
          </a:p>
          <a:p>
            <a:pPr marL="457200" indent="-4572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+mj-lt"/>
              <a:buAutoNum type="arabicPeriod"/>
            </a:pPr>
            <a:r>
              <a:rPr lang="nl-NL" sz="2400" dirty="0">
                <a:latin typeface="+mj-lt"/>
              </a:rPr>
              <a:t>Meer wijken (40 in totaal, waaronder de wijken die al eerder deelnamen in Someren)</a:t>
            </a:r>
          </a:p>
          <a:p>
            <a:pPr marL="457200" indent="-4572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</a:pPr>
            <a:endParaRPr lang="nl-NL" sz="2400" dirty="0">
              <a:solidFill>
                <a:schemeClr val="dk1"/>
              </a:solidFill>
              <a:latin typeface="+mj-lt"/>
            </a:endParaRPr>
          </a:p>
          <a:p>
            <a:pPr marL="457200" indent="-4572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</a:pPr>
            <a:r>
              <a:rPr lang="nl-NL" sz="2400" dirty="0">
                <a:solidFill>
                  <a:schemeClr val="dk1"/>
                </a:solidFill>
                <a:latin typeface="+mj-lt"/>
              </a:rPr>
              <a:t>Gedragsonderzoek door ministerie van klimaat en groene groei</a:t>
            </a:r>
          </a:p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nl-NL" sz="2400" dirty="0" err="1">
              <a:latin typeface="+mj-lt"/>
            </a:endParaRPr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ACC51088-267E-D668-9EED-3D5F6E5BFE18}"/>
              </a:ext>
            </a:extLst>
          </p:cNvPr>
          <p:cNvSpPr/>
          <p:nvPr/>
        </p:nvSpPr>
        <p:spPr>
          <a:xfrm>
            <a:off x="876300" y="5676900"/>
            <a:ext cx="5651500" cy="9779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We richten ons op het laten starten van de tweede pilot op 1 november. Deze loopt tot 1 maart.</a:t>
            </a:r>
          </a:p>
        </p:txBody>
      </p:sp>
    </p:spTree>
    <p:extLst>
      <p:ext uri="{BB962C8B-B14F-4D97-AF65-F5344CB8AC3E}">
        <p14:creationId xmlns:p14="http://schemas.microsoft.com/office/powerpoint/2010/main" val="2155151056"/>
      </p:ext>
    </p:extLst>
  </p:cSld>
  <p:clrMapOvr>
    <a:masterClrMapping/>
  </p:clrMapOvr>
  <p:transition spd="slow"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E688FD-3A34-259F-BB50-50293F00C1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B4031C89-EF28-3215-4C22-4AD78BC0A5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8500" y="-24090"/>
            <a:ext cx="3175000" cy="6882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B9847C1D-9BAE-452E-8768-50A3CCC5A748}"/>
              </a:ext>
            </a:extLst>
          </p:cNvPr>
          <p:cNvSpPr/>
          <p:nvPr/>
        </p:nvSpPr>
        <p:spPr>
          <a:xfrm>
            <a:off x="8001000" y="4991100"/>
            <a:ext cx="3911600" cy="9779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Inzicht in voorspelde belasting en moment waarop de gebruiker het beste wel of geen elektriciteit kan gebruiken</a:t>
            </a:r>
          </a:p>
        </p:txBody>
      </p:sp>
    </p:spTree>
    <p:extLst>
      <p:ext uri="{BB962C8B-B14F-4D97-AF65-F5344CB8AC3E}">
        <p14:creationId xmlns:p14="http://schemas.microsoft.com/office/powerpoint/2010/main" val="72118779"/>
      </p:ext>
    </p:extLst>
  </p:cSld>
  <p:clrMapOvr>
    <a:masterClrMapping/>
  </p:clrMapOvr>
  <p:transition spd="slow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35285-8A32-5C6A-19B1-1A221EFA0D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F8CE9E9-9608-1B95-948A-F8A6760BC4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4051" y="6168759"/>
            <a:ext cx="4114800" cy="107323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nl-NL"/>
              <a:t>Voettekst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71512E3E-84E9-58EC-58CC-4957D800EE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0553" y="6168759"/>
            <a:ext cx="284597" cy="107323"/>
          </a:xfrm>
        </p:spPr>
        <p:txBody>
          <a:bodyPr/>
          <a:lstStyle/>
          <a:p>
            <a:pPr>
              <a:spcAft>
                <a:spcPts val="600"/>
              </a:spcAft>
            </a:pPr>
            <a:fld id="{D7B5DC5B-6873-43DB-ADC7-B15ACCE0DFDB}" type="slidenum">
              <a:rPr lang="nl-NL" smtClean="0"/>
              <a:pPr>
                <a:spcAft>
                  <a:spcPts val="600"/>
                </a:spcAft>
              </a:pPr>
              <a:t>2</a:t>
            </a:fld>
            <a:endParaRPr lang="nl-NL"/>
          </a:p>
        </p:txBody>
      </p:sp>
      <p:graphicFrame>
        <p:nvGraphicFramePr>
          <p:cNvPr id="5" name="Tijdelijke aanduiding voor verticale tekst 1">
            <a:extLst>
              <a:ext uri="{FF2B5EF4-FFF2-40B4-BE49-F238E27FC236}">
                <a16:creationId xmlns:a16="http://schemas.microsoft.com/office/drawing/2014/main" id="{637D9AFB-94C3-2007-18E5-E7DEA6396E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316289"/>
              </p:ext>
            </p:extLst>
          </p:nvPr>
        </p:nvGraphicFramePr>
        <p:xfrm>
          <a:off x="841248" y="1882140"/>
          <a:ext cx="105156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el 2">
            <a:extLst>
              <a:ext uri="{FF2B5EF4-FFF2-40B4-BE49-F238E27FC236}">
                <a16:creationId xmlns:a16="http://schemas.microsoft.com/office/drawing/2014/main" id="{4E98D968-AEAB-AA45-5470-7B8698928A51}"/>
              </a:ext>
            </a:extLst>
          </p:cNvPr>
          <p:cNvSpPr txBox="1">
            <a:spLocks/>
          </p:cNvSpPr>
          <p:nvPr/>
        </p:nvSpPr>
        <p:spPr>
          <a:xfrm>
            <a:off x="1220124" y="302833"/>
            <a:ext cx="8280000" cy="60045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2800" b="1" kern="1200" dirty="0">
                <a:solidFill>
                  <a:srgbClr val="635D6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Inhoud</a:t>
            </a:r>
          </a:p>
        </p:txBody>
      </p:sp>
    </p:spTree>
    <p:extLst>
      <p:ext uri="{BB962C8B-B14F-4D97-AF65-F5344CB8AC3E}">
        <p14:creationId xmlns:p14="http://schemas.microsoft.com/office/powerpoint/2010/main" val="2835728885"/>
      </p:ext>
    </p:extLst>
  </p:cSld>
  <p:clrMapOvr>
    <a:masterClrMapping/>
  </p:clrMapOvr>
  <p:transition spd="slow"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FC0A4FE7-E668-AA36-26F0-571158A756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0464638D-1C97-6CC1-2DCB-8D11F9E4AA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B5DC5B-6873-43DB-ADC7-B15ACCE0DFDB}" type="slidenum">
              <a:rPr lang="nl-NL" smtClean="0"/>
              <a:pPr/>
              <a:t>20</a:t>
            </a:fld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1B35D38-8A98-C3DD-F6F7-6C266DD456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CDD15040-FA4E-5BFE-9FBA-CD6B75ED73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2633" y="-1"/>
            <a:ext cx="3199716" cy="6935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AA3D755E-3A40-3549-5A0B-FB939705B0F9}"/>
              </a:ext>
            </a:extLst>
          </p:cNvPr>
          <p:cNvSpPr/>
          <p:nvPr/>
        </p:nvSpPr>
        <p:spPr>
          <a:xfrm>
            <a:off x="8001000" y="4991100"/>
            <a:ext cx="3911600" cy="9779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 err="1"/>
              <a:t>Realtime</a:t>
            </a:r>
            <a:r>
              <a:rPr lang="nl-NL" sz="1600" dirty="0"/>
              <a:t> inzicht in het eigen gebruik.</a:t>
            </a:r>
          </a:p>
        </p:txBody>
      </p:sp>
    </p:spTree>
    <p:extLst>
      <p:ext uri="{BB962C8B-B14F-4D97-AF65-F5344CB8AC3E}">
        <p14:creationId xmlns:p14="http://schemas.microsoft.com/office/powerpoint/2010/main" val="2969762958"/>
      </p:ext>
    </p:extLst>
  </p:cSld>
  <p:clrMapOvr>
    <a:masterClrMapping/>
  </p:clrMapOvr>
  <p:transition spd="slow"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9B707A31-9D89-4A9B-EF99-E04B1FF3C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0C26F2B6-5C92-E444-2485-407C1510B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B5DC5B-6873-43DB-ADC7-B15ACCE0DFDB}" type="slidenum">
              <a:rPr lang="nl-NL" smtClean="0"/>
              <a:pPr/>
              <a:t>21</a:t>
            </a:fld>
            <a:endParaRPr lang="nl-NL" dirty="0"/>
          </a:p>
        </p:txBody>
      </p:sp>
      <p:pic>
        <p:nvPicPr>
          <p:cNvPr id="5" name="Picture 8">
            <a:extLst>
              <a:ext uri="{FF2B5EF4-FFF2-40B4-BE49-F238E27FC236}">
                <a16:creationId xmlns:a16="http://schemas.microsoft.com/office/drawing/2014/main" id="{25D6978F-92DC-7EF1-B19C-F2AFED99BE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1920" y="-1"/>
            <a:ext cx="3163887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2A0FA688-D8F9-9407-29C1-80D7D2E302A2}"/>
              </a:ext>
            </a:extLst>
          </p:cNvPr>
          <p:cNvSpPr/>
          <p:nvPr/>
        </p:nvSpPr>
        <p:spPr>
          <a:xfrm>
            <a:off x="8001000" y="4991100"/>
            <a:ext cx="3911600" cy="9779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Krijg een uitdaging en leer hoe je je verbruik kan aanpassen</a:t>
            </a:r>
          </a:p>
        </p:txBody>
      </p:sp>
    </p:spTree>
    <p:extLst>
      <p:ext uri="{BB962C8B-B14F-4D97-AF65-F5344CB8AC3E}">
        <p14:creationId xmlns:p14="http://schemas.microsoft.com/office/powerpoint/2010/main" val="1453934601"/>
      </p:ext>
    </p:extLst>
  </p:cSld>
  <p:clrMapOvr>
    <a:masterClrMapping/>
  </p:clrMapOvr>
  <p:transition spd="slow">
    <p:wipe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AA858D-1B98-1E7D-927F-C16EA1B30C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B5A08AAA-7395-B9AE-6609-2659A4A55F0B}"/>
              </a:ext>
            </a:extLst>
          </p:cNvPr>
          <p:cNvSpPr/>
          <p:nvPr/>
        </p:nvSpPr>
        <p:spPr>
          <a:xfrm>
            <a:off x="-114300" y="0"/>
            <a:ext cx="12407900" cy="7137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 err="1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2C29FF4-4443-0809-7A87-0524245FA2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924" y="1389940"/>
            <a:ext cx="2694981" cy="5841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AE6F9F6-EF74-4397-673B-CC2C9F9DBA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356" y="1389940"/>
            <a:ext cx="2694981" cy="5841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92CDD573-B620-9B36-8639-133E8FD2D8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7788" y="1389940"/>
            <a:ext cx="2694981" cy="5841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1C883A9A-6934-1BBD-7AEE-6CC332FC09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2220" y="1389940"/>
            <a:ext cx="2694981" cy="5841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FA48A6E9-EEC3-90D4-DC9A-ECF5FDC90015}"/>
              </a:ext>
            </a:extLst>
          </p:cNvPr>
          <p:cNvSpPr/>
          <p:nvPr/>
        </p:nvSpPr>
        <p:spPr>
          <a:xfrm>
            <a:off x="-114300" y="-190500"/>
            <a:ext cx="12306300" cy="15804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/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>
              <a:solidFill>
                <a:schemeClr val="accent1"/>
              </a:solidFill>
            </a:endParaRPr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2400" dirty="0">
                <a:solidFill>
                  <a:schemeClr val="accent1"/>
                </a:solidFill>
              </a:rPr>
              <a:t>Wil je komende winter deelnemen aan deze pilot?</a:t>
            </a:r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050" dirty="0">
              <a:solidFill>
                <a:schemeClr val="accent1"/>
              </a:solidFill>
            </a:endParaRPr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2000" dirty="0">
                <a:solidFill>
                  <a:schemeClr val="accent1"/>
                </a:solidFill>
              </a:rPr>
              <a:t>Stuur een email naar </a:t>
            </a:r>
            <a:r>
              <a:rPr lang="nl-NL" sz="2000" dirty="0">
                <a:solidFill>
                  <a:schemeClr val="accent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men@buurtnet.com</a:t>
            </a:r>
            <a:r>
              <a:rPr lang="nl-NL" sz="2000" dirty="0">
                <a:solidFill>
                  <a:schemeClr val="accent1"/>
                </a:solidFill>
              </a:rPr>
              <a:t> of schrijf jezelf in via de inschrijflijst</a:t>
            </a:r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/>
          </a:p>
        </p:txBody>
      </p:sp>
    </p:spTree>
    <p:extLst>
      <p:ext uri="{BB962C8B-B14F-4D97-AF65-F5344CB8AC3E}">
        <p14:creationId xmlns:p14="http://schemas.microsoft.com/office/powerpoint/2010/main" val="1429221718"/>
      </p:ext>
    </p:extLst>
  </p:cSld>
  <p:clrMapOvr>
    <a:masterClrMapping/>
  </p:clrMapOvr>
  <p:transition spd="slow">
    <p:wipe dir="r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ADD589A3-166E-6305-929D-E25A015993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A8ACEC82-1A0F-FA89-3744-6A3BCBEE96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B5DC5B-6873-43DB-ADC7-B15ACCE0DFDB}" type="slidenum">
              <a:rPr lang="nl-NL" smtClean="0"/>
              <a:pPr/>
              <a:t>23</a:t>
            </a:fld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7D7EF3A-9462-5B05-6DB3-72503DE671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13314" name="Picture 2" descr="Wat zijn krachtige open vragen? - HEEL communicatietrainingen">
            <a:extLst>
              <a:ext uri="{FF2B5EF4-FFF2-40B4-BE49-F238E27FC236}">
                <a16:creationId xmlns:a16="http://schemas.microsoft.com/office/drawing/2014/main" id="{9857AA24-5F7B-5F46-24A0-D7A85AE967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32" b="3889"/>
          <a:stretch>
            <a:fillRect/>
          </a:stretch>
        </p:blipFill>
        <p:spPr bwMode="auto">
          <a:xfrm>
            <a:off x="-57150" y="0"/>
            <a:ext cx="122491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2476069"/>
      </p:ext>
    </p:extLst>
  </p:cSld>
  <p:clrMapOvr>
    <a:masterClrMapping/>
  </p:clrMapOvr>
  <p:transition spd="slow">
    <p:wipe dir="r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6C6ED888-487B-FDC8-CE9E-D9F141AB69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ECAD8D3D-1D40-113D-32FE-6A2C29A98B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B5DC5B-6873-43DB-ADC7-B15ACCE0DFDB}" type="slidenum">
              <a:rPr lang="nl-NL" smtClean="0"/>
              <a:pPr/>
              <a:t>24</a:t>
            </a:fld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71D9967-6E82-58FD-EA1E-AD5B012AE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eelnemen?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5543DA2-D538-34FA-CCCA-B648F4FB4FE7}"/>
              </a:ext>
            </a:extLst>
          </p:cNvPr>
          <p:cNvSpPr/>
          <p:nvPr/>
        </p:nvSpPr>
        <p:spPr>
          <a:xfrm>
            <a:off x="1803400" y="2159000"/>
            <a:ext cx="8039100" cy="2222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/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/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Wil je komende winter deelnemen aan deze pilot?</a:t>
            </a:r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/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Stuur een email naar</a:t>
            </a:r>
            <a:r>
              <a:rPr lang="nl-NL" sz="1600" dirty="0">
                <a:solidFill>
                  <a:schemeClr val="bg1"/>
                </a:solidFill>
              </a:rPr>
              <a:t> </a:t>
            </a:r>
            <a:r>
              <a:rPr lang="nl-NL" sz="1600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men@buurtnet.com</a:t>
            </a:r>
            <a:endParaRPr lang="nl-NL" sz="16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/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Of schrijf jezelf in op de lijst</a:t>
            </a:r>
          </a:p>
        </p:txBody>
      </p:sp>
    </p:spTree>
    <p:extLst>
      <p:ext uri="{BB962C8B-B14F-4D97-AF65-F5344CB8AC3E}">
        <p14:creationId xmlns:p14="http://schemas.microsoft.com/office/powerpoint/2010/main" val="3908309096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5B6732-355B-4B27-53D5-F2E83B2345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F163D631-AA33-E3BF-F51E-31566804FBEE}"/>
              </a:ext>
            </a:extLst>
          </p:cNvPr>
          <p:cNvSpPr/>
          <p:nvPr/>
        </p:nvSpPr>
        <p:spPr>
          <a:xfrm>
            <a:off x="-136634" y="1006300"/>
            <a:ext cx="12538841" cy="45652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l-NL" sz="1333"/>
          </a:p>
        </p:txBody>
      </p:sp>
      <p:grpSp>
        <p:nvGrpSpPr>
          <p:cNvPr id="6" name="Groep 5">
            <a:extLst>
              <a:ext uri="{FF2B5EF4-FFF2-40B4-BE49-F238E27FC236}">
                <a16:creationId xmlns:a16="http://schemas.microsoft.com/office/drawing/2014/main" id="{AAB1ADD8-546B-E33C-B03D-2A7C378B400C}"/>
              </a:ext>
            </a:extLst>
          </p:cNvPr>
          <p:cNvGrpSpPr/>
          <p:nvPr/>
        </p:nvGrpSpPr>
        <p:grpSpPr>
          <a:xfrm>
            <a:off x="6594726" y="171916"/>
            <a:ext cx="5547081" cy="4042729"/>
            <a:chOff x="3318304" y="2110005"/>
            <a:chExt cx="2020260" cy="1644997"/>
          </a:xfrm>
        </p:grpSpPr>
        <p:pic>
          <p:nvPicPr>
            <p:cNvPr id="7" name="Afbeelding 6">
              <a:extLst>
                <a:ext uri="{FF2B5EF4-FFF2-40B4-BE49-F238E27FC236}">
                  <a16:creationId xmlns:a16="http://schemas.microsoft.com/office/drawing/2014/main" id="{68FC2F7F-4E35-3EB8-0EFE-2B088516A7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329"/>
            <a:stretch/>
          </p:blipFill>
          <p:spPr>
            <a:xfrm>
              <a:off x="3318304" y="2110005"/>
              <a:ext cx="2020260" cy="1644997"/>
            </a:xfrm>
            <a:prstGeom prst="rect">
              <a:avLst/>
            </a:prstGeom>
          </p:spPr>
        </p:pic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DCEE58C9-3DBA-EA61-E843-CBAC527C092D}"/>
                </a:ext>
              </a:extLst>
            </p:cNvPr>
            <p:cNvSpPr/>
            <p:nvPr/>
          </p:nvSpPr>
          <p:spPr>
            <a:xfrm>
              <a:off x="4977504" y="2360749"/>
              <a:ext cx="361060" cy="13942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nl-NL" sz="1333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9C3EA0F7-456C-F146-6059-4F06BE941FF4}"/>
              </a:ext>
            </a:extLst>
          </p:cNvPr>
          <p:cNvGrpSpPr/>
          <p:nvPr/>
        </p:nvGrpSpPr>
        <p:grpSpPr>
          <a:xfrm>
            <a:off x="7586597" y="2850124"/>
            <a:ext cx="4621563" cy="3850589"/>
            <a:chOff x="3339992" y="4151874"/>
            <a:chExt cx="2020260" cy="1733724"/>
          </a:xfrm>
        </p:grpSpPr>
        <p:pic>
          <p:nvPicPr>
            <p:cNvPr id="10" name="Afbeelding 9">
              <a:extLst>
                <a:ext uri="{FF2B5EF4-FFF2-40B4-BE49-F238E27FC236}">
                  <a16:creationId xmlns:a16="http://schemas.microsoft.com/office/drawing/2014/main" id="{FC6BCEF5-990A-F0DD-F4E2-D468363CC4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642"/>
            <a:stretch/>
          </p:blipFill>
          <p:spPr>
            <a:xfrm>
              <a:off x="3339992" y="4151874"/>
              <a:ext cx="2020260" cy="173372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1979E36C-883D-7CA6-6EE9-6F40883A6834}"/>
                </a:ext>
              </a:extLst>
            </p:cNvPr>
            <p:cNvSpPr/>
            <p:nvPr/>
          </p:nvSpPr>
          <p:spPr>
            <a:xfrm>
              <a:off x="5083136" y="4514578"/>
              <a:ext cx="277116" cy="13710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nl-NL" sz="1333"/>
            </a:p>
          </p:txBody>
        </p:sp>
      </p:grpSp>
      <p:grpSp>
        <p:nvGrpSpPr>
          <p:cNvPr id="12" name="Groep 11">
            <a:extLst>
              <a:ext uri="{FF2B5EF4-FFF2-40B4-BE49-F238E27FC236}">
                <a16:creationId xmlns:a16="http://schemas.microsoft.com/office/drawing/2014/main" id="{3844C024-FD38-5941-F0A1-B030F3959852}"/>
              </a:ext>
            </a:extLst>
          </p:cNvPr>
          <p:cNvGrpSpPr/>
          <p:nvPr/>
        </p:nvGrpSpPr>
        <p:grpSpPr>
          <a:xfrm>
            <a:off x="-10510" y="94590"/>
            <a:ext cx="4847376" cy="4411694"/>
            <a:chOff x="912586" y="2023406"/>
            <a:chExt cx="1943092" cy="1843397"/>
          </a:xfrm>
        </p:grpSpPr>
        <p:pic>
          <p:nvPicPr>
            <p:cNvPr id="13" name="Afbeelding 12">
              <a:extLst>
                <a:ext uri="{FF2B5EF4-FFF2-40B4-BE49-F238E27FC236}">
                  <a16:creationId xmlns:a16="http://schemas.microsoft.com/office/drawing/2014/main" id="{B6991A49-D94B-0F90-2401-36FAD70A9A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144"/>
            <a:stretch/>
          </p:blipFill>
          <p:spPr>
            <a:xfrm>
              <a:off x="912586" y="2023406"/>
              <a:ext cx="1943091" cy="184339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7DA77AB6-443A-0243-F14C-36AD8C42329F}"/>
                </a:ext>
              </a:extLst>
            </p:cNvPr>
            <p:cNvSpPr/>
            <p:nvPr/>
          </p:nvSpPr>
          <p:spPr>
            <a:xfrm>
              <a:off x="2572734" y="2372047"/>
              <a:ext cx="282944" cy="14834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nl-NL" sz="1333"/>
            </a:p>
          </p:txBody>
        </p:sp>
      </p:grpSp>
      <p:pic>
        <p:nvPicPr>
          <p:cNvPr id="15" name="Afbeelding 14">
            <a:hlinkClick r:id="rId6"/>
            <a:extLst>
              <a:ext uri="{FF2B5EF4-FFF2-40B4-BE49-F238E27FC236}">
                <a16:creationId xmlns:a16="http://schemas.microsoft.com/office/drawing/2014/main" id="{52763A50-126E-E746-87CD-4C093A7CBC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87621" y="1409262"/>
            <a:ext cx="4274117" cy="1321350"/>
          </a:xfrm>
          <a:prstGeom prst="rect">
            <a:avLst/>
          </a:prstGeom>
          <a:ln w="38100">
            <a:solidFill>
              <a:schemeClr val="bg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1D11AA12-6773-5FA6-D8FC-5620F7DCD88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21383"/>
          <a:stretch/>
        </p:blipFill>
        <p:spPr>
          <a:xfrm>
            <a:off x="3887903" y="3740310"/>
            <a:ext cx="3698694" cy="3134202"/>
          </a:xfrm>
          <a:prstGeom prst="rect">
            <a:avLst/>
          </a:prstGeom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5258BC69-1D7F-900C-1F78-1FF0F775B04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489" t="78645" r="21755"/>
          <a:stretch/>
        </p:blipFill>
        <p:spPr>
          <a:xfrm>
            <a:off x="50193" y="2111708"/>
            <a:ext cx="3373043" cy="86561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Afbeelding 17">
            <a:hlinkClick r:id="rId10"/>
            <a:extLst>
              <a:ext uri="{FF2B5EF4-FFF2-40B4-BE49-F238E27FC236}">
                <a16:creationId xmlns:a16="http://schemas.microsoft.com/office/drawing/2014/main" id="{8DC578B6-EA29-9D76-9025-D11A1DC14F98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-1843" t="-8173" b="660"/>
          <a:stretch/>
        </p:blipFill>
        <p:spPr>
          <a:xfrm>
            <a:off x="215999" y="4232495"/>
            <a:ext cx="5128205" cy="11854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11497470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436E3DE0-12DB-7881-CABF-86C044802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C5567343-2C92-BF4C-0F0C-BEBE99335E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B5DC5B-6873-43DB-ADC7-B15ACCE0DFDB}" type="slidenum">
              <a:rPr lang="nl-NL" smtClean="0"/>
              <a:pPr/>
              <a:t>4</a:t>
            </a:fld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BEA4CCA-D556-EA9F-3586-868B6967F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congestie?</a:t>
            </a:r>
          </a:p>
        </p:txBody>
      </p:sp>
      <p:pic>
        <p:nvPicPr>
          <p:cNvPr id="2052" name="Picture 4" descr="ANWB presenteert file-oplossingen - AutoWeek">
            <a:extLst>
              <a:ext uri="{FF2B5EF4-FFF2-40B4-BE49-F238E27FC236}">
                <a16:creationId xmlns:a16="http://schemas.microsoft.com/office/drawing/2014/main" id="{46901AC7-1459-6500-573B-5F908B2E60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96815"/>
            <a:ext cx="6155668" cy="4101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C5F66A5E-4CA9-E564-25A7-F81427FA1F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429" t="37830"/>
          <a:stretch>
            <a:fillRect/>
          </a:stretch>
        </p:blipFill>
        <p:spPr bwMode="auto">
          <a:xfrm>
            <a:off x="6095999" y="1896815"/>
            <a:ext cx="6096001" cy="4101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9762191"/>
      </p:ext>
    </p:extLst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287BD9-04BE-F218-B5CA-2EFF756D68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8C0BD396-58AC-BC7C-319E-1DDC0EAE8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C04691D3-CC8F-A558-C32B-00C42F20A4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B5DC5B-6873-43DB-ADC7-B15ACCE0DFDB}" type="slidenum">
              <a:rPr lang="nl-NL" smtClean="0"/>
              <a:pPr/>
              <a:t>5</a:t>
            </a:fld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CD6CF69-02AF-C6D9-DB04-6BC5256D3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congestie?</a:t>
            </a:r>
          </a:p>
        </p:txBody>
      </p:sp>
      <p:pic>
        <p:nvPicPr>
          <p:cNvPr id="2054" name="Picture 6" descr="Hoe ziet een elektriciteitshuisje eruit | Liander">
            <a:extLst>
              <a:ext uri="{FF2B5EF4-FFF2-40B4-BE49-F238E27FC236}">
                <a16:creationId xmlns:a16="http://schemas.microsoft.com/office/drawing/2014/main" id="{C0F0D7E8-A661-14B5-3F85-EDD546854C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01717"/>
            <a:ext cx="12192000" cy="8026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93753BC0-3C2C-1AFA-00A3-4365FA14825A}"/>
              </a:ext>
            </a:extLst>
          </p:cNvPr>
          <p:cNvSpPr/>
          <p:nvPr/>
        </p:nvSpPr>
        <p:spPr>
          <a:xfrm>
            <a:off x="160544" y="4238614"/>
            <a:ext cx="2623457" cy="23165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Achter een LS station liggen 200-300 woningen</a:t>
            </a:r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/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Gemiddeld vermogen van 400-600 kW</a:t>
            </a:r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 dirty="0"/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nl-NL" sz="1600" dirty="0"/>
              <a:t>2kW per huishouden</a:t>
            </a:r>
          </a:p>
        </p:txBody>
      </p:sp>
    </p:spTree>
    <p:extLst>
      <p:ext uri="{BB962C8B-B14F-4D97-AF65-F5344CB8AC3E}">
        <p14:creationId xmlns:p14="http://schemas.microsoft.com/office/powerpoint/2010/main" val="4081809945"/>
      </p:ext>
    </p:extLst>
  </p:cSld>
  <p:clrMapOvr>
    <a:masterClrMapping/>
  </p:clrMapOvr>
  <p:transition spd="slow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Laadpaal thuis | Bezoek onze showroom in Elst">
            <a:extLst>
              <a:ext uri="{FF2B5EF4-FFF2-40B4-BE49-F238E27FC236}">
                <a16:creationId xmlns:a16="http://schemas.microsoft.com/office/drawing/2014/main" id="{343C483C-994C-3C37-874F-EFF532697F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2315" y="42954"/>
            <a:ext cx="6231467" cy="350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D3C7F116-61A4-2D2D-D77B-853B598C61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1A6AFF01-EF91-8CAA-8009-BB9D391636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A487162-A539-4EB6-8DDC-DECD6ADD3C4B}" type="slidenum">
              <a:rPr lang="nl-NL" smtClean="0"/>
              <a:t>6</a:t>
            </a:fld>
            <a:endParaRPr lang="nl-NL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B9588BE-2951-B1D4-9F80-01CADED9A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File op de afrit</a:t>
            </a:r>
          </a:p>
        </p:txBody>
      </p:sp>
      <p:pic>
        <p:nvPicPr>
          <p:cNvPr id="8" name="Picture 4" descr="10069442 Warmtepomp brine/water SWC 122K3 12,2kW +koel 400V Alpha Innotec">
            <a:extLst>
              <a:ext uri="{FF2B5EF4-FFF2-40B4-BE49-F238E27FC236}">
                <a16:creationId xmlns:a16="http://schemas.microsoft.com/office/drawing/2014/main" id="{3C099F6B-41B8-EE11-E7AE-7B317F45E6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1252" y="3071326"/>
            <a:ext cx="3563168" cy="3804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Thuisbatterij: geld verdienen én duurzaam bezig">
            <a:extLst>
              <a:ext uri="{FF2B5EF4-FFF2-40B4-BE49-F238E27FC236}">
                <a16:creationId xmlns:a16="http://schemas.microsoft.com/office/drawing/2014/main" id="{E6371235-F8BF-854E-4123-830B27546C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55" t="10650"/>
          <a:stretch>
            <a:fillRect/>
          </a:stretch>
        </p:blipFill>
        <p:spPr bwMode="auto">
          <a:xfrm>
            <a:off x="5962316" y="3053633"/>
            <a:ext cx="3101650" cy="3804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hthoek 10">
            <a:extLst>
              <a:ext uri="{FF2B5EF4-FFF2-40B4-BE49-F238E27FC236}">
                <a16:creationId xmlns:a16="http://schemas.microsoft.com/office/drawing/2014/main" id="{D9223F14-CED3-4CBE-E88A-7B7113995EDD}"/>
              </a:ext>
            </a:extLst>
          </p:cNvPr>
          <p:cNvSpPr/>
          <p:nvPr/>
        </p:nvSpPr>
        <p:spPr>
          <a:xfrm>
            <a:off x="637953" y="1265274"/>
            <a:ext cx="4167963" cy="466769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44000" tIns="144000" rIns="144000" bIns="144000" rtlCol="0" anchor="ctr"/>
          <a:lstStyle/>
          <a:p>
            <a:r>
              <a:rPr lang="nl-NL" sz="2000" dirty="0"/>
              <a:t>Er is meer vraag naar elektriciteit in de wijk dan er aangevoerd kan worden</a:t>
            </a:r>
          </a:p>
          <a:p>
            <a:endParaRPr lang="nl-NL" sz="2000" dirty="0"/>
          </a:p>
          <a:p>
            <a:r>
              <a:rPr lang="nl-NL" sz="2000" dirty="0"/>
              <a:t>Er is een toename van vraag naar elektriciteit door nieuwe hoogvermogensapparaten</a:t>
            </a:r>
          </a:p>
          <a:p>
            <a:endParaRPr lang="nl-NL" sz="2000" dirty="0"/>
          </a:p>
          <a:p>
            <a:r>
              <a:rPr lang="nl-NL" sz="2000" dirty="0"/>
              <a:t>Gemiddeld per huishouden 2kW beschikbaar. Een laadpaal gebruikt 11kW.</a:t>
            </a:r>
          </a:p>
        </p:txBody>
      </p:sp>
    </p:spTree>
    <p:extLst>
      <p:ext uri="{BB962C8B-B14F-4D97-AF65-F5344CB8AC3E}">
        <p14:creationId xmlns:p14="http://schemas.microsoft.com/office/powerpoint/2010/main" val="2005377389"/>
      </p:ext>
    </p:extLst>
  </p:cSld>
  <p:clrMapOvr>
    <a:masterClrMapping/>
  </p:clrMapOvr>
  <p:transition spd="slow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480505-CBFC-644D-7B45-0C60E9A110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Laadpaal thuis | Bezoek onze showroom in Elst">
            <a:extLst>
              <a:ext uri="{FF2B5EF4-FFF2-40B4-BE49-F238E27FC236}">
                <a16:creationId xmlns:a16="http://schemas.microsoft.com/office/drawing/2014/main" id="{FB122B6E-B979-5F54-CE90-E9376B768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2315" y="42954"/>
            <a:ext cx="6231467" cy="350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46574BF2-4E9A-494F-CD6D-2B54A2446A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B6F0A0DC-3C8E-51E7-9211-04522BCB6C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A487162-A539-4EB6-8DDC-DECD6ADD3C4B}" type="slidenum">
              <a:rPr lang="nl-NL" smtClean="0"/>
              <a:t>7</a:t>
            </a:fld>
            <a:endParaRPr lang="nl-NL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3DF5412-650D-0D11-0FD1-EE9B4E110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File op de afrit</a:t>
            </a:r>
          </a:p>
        </p:txBody>
      </p:sp>
      <p:pic>
        <p:nvPicPr>
          <p:cNvPr id="8" name="Picture 4" descr="10069442 Warmtepomp brine/water SWC 122K3 12,2kW +koel 400V Alpha Innotec">
            <a:extLst>
              <a:ext uri="{FF2B5EF4-FFF2-40B4-BE49-F238E27FC236}">
                <a16:creationId xmlns:a16="http://schemas.microsoft.com/office/drawing/2014/main" id="{33967D21-AA22-EBD2-4964-406DFDE506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1252" y="3071326"/>
            <a:ext cx="3563168" cy="3804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Thuisbatterij: geld verdienen én duurzaam bezig">
            <a:extLst>
              <a:ext uri="{FF2B5EF4-FFF2-40B4-BE49-F238E27FC236}">
                <a16:creationId xmlns:a16="http://schemas.microsoft.com/office/drawing/2014/main" id="{6B3D877B-4834-8C23-9670-7A5FBBFA06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55" t="10650"/>
          <a:stretch>
            <a:fillRect/>
          </a:stretch>
        </p:blipFill>
        <p:spPr bwMode="auto">
          <a:xfrm>
            <a:off x="5962316" y="3053633"/>
            <a:ext cx="3101650" cy="3804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hthoek 10">
            <a:extLst>
              <a:ext uri="{FF2B5EF4-FFF2-40B4-BE49-F238E27FC236}">
                <a16:creationId xmlns:a16="http://schemas.microsoft.com/office/drawing/2014/main" id="{BACF4B1F-2223-D2B7-D293-7CDC569E5F6F}"/>
              </a:ext>
            </a:extLst>
          </p:cNvPr>
          <p:cNvSpPr/>
          <p:nvPr/>
        </p:nvSpPr>
        <p:spPr>
          <a:xfrm>
            <a:off x="637953" y="1265274"/>
            <a:ext cx="4167963" cy="466769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44000" tIns="144000" rIns="144000" bIns="144000" rtlCol="0" anchor="ctr"/>
          <a:lstStyle/>
          <a:p>
            <a:r>
              <a:rPr lang="nl-NL" sz="2000" b="1" dirty="0"/>
              <a:t>Typische ‘filetijden’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In de win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Doordeweekse da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Tussen 17 en 21 uur</a:t>
            </a:r>
          </a:p>
          <a:p>
            <a:endParaRPr lang="nl-NL" sz="2000" dirty="0"/>
          </a:p>
          <a:p>
            <a:r>
              <a:rPr lang="nl-NL" sz="2000" b="1" dirty="0"/>
              <a:t>Gevolg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Knipperende lamp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Minder goed functionerende apparat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Storing in de wijk</a:t>
            </a:r>
          </a:p>
          <a:p>
            <a:endParaRPr lang="nl-NL" sz="2000" dirty="0"/>
          </a:p>
          <a:p>
            <a:r>
              <a:rPr lang="nl-NL" sz="2000" b="1" dirty="0"/>
              <a:t>Wat kan je doen? </a:t>
            </a:r>
          </a:p>
          <a:p>
            <a:endParaRPr lang="nl-NL" sz="2000" dirty="0"/>
          </a:p>
          <a:p>
            <a:r>
              <a:rPr lang="nl-NL" sz="2000" b="1" dirty="0" err="1">
                <a:solidFill>
                  <a:schemeClr val="accent1"/>
                </a:solidFill>
              </a:rPr>
              <a:t>Filemijden</a:t>
            </a:r>
            <a:r>
              <a:rPr lang="nl-NL" sz="2000" b="1" dirty="0">
                <a:solidFill>
                  <a:schemeClr val="accent1"/>
                </a:solidFill>
              </a:rPr>
              <a:t>! ;-)</a:t>
            </a:r>
          </a:p>
        </p:txBody>
      </p:sp>
    </p:spTree>
    <p:extLst>
      <p:ext uri="{BB962C8B-B14F-4D97-AF65-F5344CB8AC3E}">
        <p14:creationId xmlns:p14="http://schemas.microsoft.com/office/powerpoint/2010/main" val="370315332"/>
      </p:ext>
    </p:extLst>
  </p:cSld>
  <p:clrMapOvr>
    <a:masterClrMapping/>
  </p:clrMapOvr>
  <p:transition spd="slow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AB5A8-6B42-A548-7DE6-3A020C1242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A24BBFB1-CE62-C4F7-1B3A-BDE5167148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1574DEAD-33BA-2179-374F-E09D5D1A0F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A487162-A539-4EB6-8DDC-DECD6ADD3C4B}" type="slidenum">
              <a:rPr lang="nl-NL" smtClean="0"/>
              <a:t>8</a:t>
            </a:fld>
            <a:endParaRPr lang="nl-NL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0DE48A5-5001-20BD-0074-F8BB0F3A5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8663" y="269559"/>
            <a:ext cx="4457662" cy="600455"/>
          </a:xfrm>
        </p:spPr>
        <p:txBody>
          <a:bodyPr/>
          <a:lstStyle/>
          <a:p>
            <a:r>
              <a:rPr lang="nl-NL" dirty="0"/>
              <a:t>File op de oprit</a:t>
            </a: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E43E282C-45C6-75AD-2149-476E0C440E95}"/>
              </a:ext>
            </a:extLst>
          </p:cNvPr>
          <p:cNvSpPr/>
          <p:nvPr/>
        </p:nvSpPr>
        <p:spPr>
          <a:xfrm>
            <a:off x="7676492" y="1232000"/>
            <a:ext cx="4167963" cy="466769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44000" tIns="144000" rIns="144000" bIns="144000" rtlCol="0" anchor="ctr"/>
          <a:lstStyle/>
          <a:p>
            <a:r>
              <a:rPr lang="nl-NL" sz="2000" dirty="0"/>
              <a:t>Er is meer aanbod van elektriciteit in de wijk dan er afgevoerd kan worden</a:t>
            </a:r>
          </a:p>
          <a:p>
            <a:endParaRPr lang="nl-NL" sz="2000" dirty="0"/>
          </a:p>
          <a:p>
            <a:r>
              <a:rPr lang="nl-NL" sz="2000" dirty="0"/>
              <a:t>Huizen met zonnepanelen produceren vaak gelijktijdig veel meer elektriciteit dat er gebruikt wordt.</a:t>
            </a:r>
          </a:p>
        </p:txBody>
      </p:sp>
      <p:pic>
        <p:nvPicPr>
          <p:cNvPr id="5122" name="Picture 2" descr="Zijn zonnepanelen nog interessant?">
            <a:extLst>
              <a:ext uri="{FF2B5EF4-FFF2-40B4-BE49-F238E27FC236}">
                <a16:creationId xmlns:a16="http://schemas.microsoft.com/office/drawing/2014/main" id="{448542CE-718E-F61F-6BF1-5666F91555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66"/>
          <a:stretch>
            <a:fillRect/>
          </a:stretch>
        </p:blipFill>
        <p:spPr bwMode="auto">
          <a:xfrm>
            <a:off x="-85665" y="0"/>
            <a:ext cx="761024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6727637"/>
      </p:ext>
    </p:extLst>
  </p:cSld>
  <p:clrMapOvr>
    <a:masterClrMapping/>
  </p:clrMapOvr>
  <p:transition spd="slow"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9E5D13-BCAA-0FC0-951A-D9DC7843E3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B49DDD4B-66D6-D000-6527-B330AA1071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Voettekst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AB25AB9B-1008-78A6-98EA-868DF0F46F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A487162-A539-4EB6-8DDC-DECD6ADD3C4B}" type="slidenum">
              <a:rPr lang="nl-NL" smtClean="0"/>
              <a:t>9</a:t>
            </a:fld>
            <a:endParaRPr lang="nl-NL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06F47E9-844A-2E66-02C1-F57A443E4B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8663" y="269559"/>
            <a:ext cx="4457662" cy="600455"/>
          </a:xfrm>
        </p:spPr>
        <p:txBody>
          <a:bodyPr/>
          <a:lstStyle/>
          <a:p>
            <a:r>
              <a:rPr lang="nl-NL" dirty="0"/>
              <a:t>File op de oprit</a:t>
            </a: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3EDCAF3E-BDED-7902-35C8-FBAEE2801B71}"/>
              </a:ext>
            </a:extLst>
          </p:cNvPr>
          <p:cNvSpPr/>
          <p:nvPr/>
        </p:nvSpPr>
        <p:spPr>
          <a:xfrm>
            <a:off x="7676492" y="1232000"/>
            <a:ext cx="4167963" cy="466769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44000" tIns="144000" rIns="144000" bIns="144000" rtlCol="0" anchor="ctr"/>
          <a:lstStyle/>
          <a:p>
            <a:r>
              <a:rPr lang="nl-NL" sz="2000" b="1" dirty="0"/>
              <a:t>Typische ‘filetijden’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Tussen april en augustu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Tussen 11 en 15 uur</a:t>
            </a:r>
          </a:p>
          <a:p>
            <a:endParaRPr lang="nl-NL" sz="2000" dirty="0"/>
          </a:p>
          <a:p>
            <a:r>
              <a:rPr lang="nl-NL" sz="2000" b="1" dirty="0"/>
              <a:t>Gevolg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Omvormers die uitschake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Storing in de wijk</a:t>
            </a:r>
          </a:p>
          <a:p>
            <a:endParaRPr lang="nl-NL" sz="2000" dirty="0"/>
          </a:p>
          <a:p>
            <a:r>
              <a:rPr lang="nl-NL" sz="2000" b="1" dirty="0"/>
              <a:t>Wat kan je doen? </a:t>
            </a:r>
          </a:p>
          <a:p>
            <a:endParaRPr lang="nl-NL" sz="2000" dirty="0"/>
          </a:p>
          <a:p>
            <a:r>
              <a:rPr lang="nl-NL" sz="2000" b="1" dirty="0">
                <a:solidFill>
                  <a:schemeClr val="accent1"/>
                </a:solidFill>
              </a:rPr>
              <a:t>Meer elektriciteit gebruiken!</a:t>
            </a:r>
          </a:p>
        </p:txBody>
      </p:sp>
      <p:pic>
        <p:nvPicPr>
          <p:cNvPr id="5122" name="Picture 2" descr="Zijn zonnepanelen nog interessant?">
            <a:extLst>
              <a:ext uri="{FF2B5EF4-FFF2-40B4-BE49-F238E27FC236}">
                <a16:creationId xmlns:a16="http://schemas.microsoft.com/office/drawing/2014/main" id="{13B0E81F-A203-97F8-924A-078F2CB1BA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66"/>
          <a:stretch>
            <a:fillRect/>
          </a:stretch>
        </p:blipFill>
        <p:spPr bwMode="auto">
          <a:xfrm>
            <a:off x="-85665" y="0"/>
            <a:ext cx="761024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6585188"/>
      </p:ext>
    </p:extLst>
  </p:cSld>
  <p:clrMapOvr>
    <a:masterClrMapping/>
  </p:clrMapOvr>
  <p:transition spd="slow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E">
  <a:themeElements>
    <a:clrScheme name="Enexis Netbeheer">
      <a:dk1>
        <a:sysClr val="windowText" lastClr="000000"/>
      </a:dk1>
      <a:lt1>
        <a:sysClr val="window" lastClr="FFFFFF"/>
      </a:lt1>
      <a:dk2>
        <a:srgbClr val="3D3C3F"/>
      </a:dk2>
      <a:lt2>
        <a:srgbClr val="DFDFDF"/>
      </a:lt2>
      <a:accent1>
        <a:srgbClr val="DE0073"/>
      </a:accent1>
      <a:accent2>
        <a:srgbClr val="BDDB00"/>
      </a:accent2>
      <a:accent3>
        <a:srgbClr val="635D63"/>
      </a:accent3>
      <a:accent4>
        <a:srgbClr val="A61380"/>
      </a:accent4>
      <a:accent5>
        <a:srgbClr val="F087B6"/>
      </a:accent5>
      <a:accent6>
        <a:srgbClr val="DBE466"/>
      </a:accent6>
      <a:hlink>
        <a:srgbClr val="DE0073"/>
      </a:hlink>
      <a:folHlink>
        <a:srgbClr val="BDDB00"/>
      </a:folHlink>
    </a:clrScheme>
    <a:fontScheme name="Enexis">
      <a:majorFont>
        <a:latin typeface="Trebuchet MS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44000" tIns="144000" rIns="144000" bIns="144000" rtlCol="0" anchor="ctr"/>
      <a:lstStyle>
        <a:defPPr algn="ctr">
          <a:lnSpc>
            <a:spcPct val="90000"/>
          </a:lnSpc>
          <a:spcBef>
            <a:spcPts val="200"/>
          </a:spcBef>
          <a:spcAft>
            <a:spcPts val="200"/>
          </a:spcAft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accent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e3" id="{9A5666AB-EC8D-40FC-A62C-65C0C264FCCA}" vid="{92436D81-9BC0-470B-9775-F5CBAC21B387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24e097d-bb88-4fe7-853d-3bbce479f7c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EBA9FC64644BF47982A824A9C9A3BD3" ma:contentTypeVersion="4" ma:contentTypeDescription="Create a new document." ma:contentTypeScope="" ma:versionID="bceae57bcda52bbbb178a53b0b434483">
  <xsd:schema xmlns:xsd="http://www.w3.org/2001/XMLSchema" xmlns:xs="http://www.w3.org/2001/XMLSchema" xmlns:p="http://schemas.microsoft.com/office/2006/metadata/properties" xmlns:ns2="324e097d-bb88-4fe7-853d-3bbce479f7c0" xmlns:ns3="30e02250-666d-4594-9c45-bb85d0e55c3b" targetNamespace="http://schemas.microsoft.com/office/2006/metadata/properties" ma:root="true" ma:fieldsID="fff0f0f360eb611c7ec3cfdb7aa53cba" ns2:_="" ns3:_="">
    <xsd:import namespace="324e097d-bb88-4fe7-853d-3bbce479f7c0"/>
    <xsd:import namespace="30e02250-666d-4594-9c45-bb85d0e55c3b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4e097d-bb88-4fe7-853d-3bbce479f7c0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fcec3bf9-7805-4d56-b0ea-fd3ed465034a}" ma:internalName="TaxCatchAll" ma:showField="CatchAllData" ma:web="510df38c-0de7-4453-a31e-83e32e1c346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fcec3bf9-7805-4d56-b0ea-fd3ed465034a}" ma:internalName="TaxCatchAllLabel" ma:readOnly="true" ma:showField="CatchAllDataLabel" ma:web="510df38c-0de7-4453-a31e-83e32e1c346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e02250-666d-4594-9c45-bb85d0e55c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434A27B-5D82-47A6-8F37-5C7544BFE67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52F8FE7-E856-4E37-9F0C-715148DDB73A}">
  <ds:schemaRefs>
    <ds:schemaRef ds:uri="http://www.w3.org/XML/1998/namespace"/>
    <ds:schemaRef ds:uri="30e02250-666d-4594-9c45-bb85d0e55c3b"/>
    <ds:schemaRef ds:uri="http://schemas.microsoft.com/office/2006/metadata/properties"/>
    <ds:schemaRef ds:uri="http://purl.org/dc/elements/1.1/"/>
    <ds:schemaRef ds:uri="http://purl.org/dc/terms/"/>
    <ds:schemaRef ds:uri="http://schemas.microsoft.com/office/2006/documentManagement/types"/>
    <ds:schemaRef ds:uri="324e097d-bb88-4fe7-853d-3bbce479f7c0"/>
    <ds:schemaRef ds:uri="http://purl.org/dc/dcmitype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835E5924-B32A-4E58-9898-FC40DD3ACE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4e097d-bb88-4fe7-853d-3bbce479f7c0"/>
    <ds:schemaRef ds:uri="30e02250-666d-4594-9c45-bb85d0e55c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ad89fa4f-e4a0-4ddb-9d18-f7eeec649ffc}" enabled="0" method="" siteId="{ad89fa4f-e4a0-4ddb-9d18-f7eeec649ff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resentatie_zonder instructies</Template>
  <TotalTime>55271</TotalTime>
  <Words>582</Words>
  <Application>Microsoft Office PowerPoint</Application>
  <PresentationFormat>Breedbeeld</PresentationFormat>
  <Paragraphs>135</Paragraphs>
  <Slides>24</Slides>
  <Notes>7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4</vt:i4>
      </vt:variant>
    </vt:vector>
  </HeadingPairs>
  <TitlesOfParts>
    <vt:vector size="30" baseType="lpstr">
      <vt:lpstr>Arial</vt:lpstr>
      <vt:lpstr>Calibri</vt:lpstr>
      <vt:lpstr>Calibri Light</vt:lpstr>
      <vt:lpstr>Trebuchet MS</vt:lpstr>
      <vt:lpstr>PRESENTATIE</vt:lpstr>
      <vt:lpstr>think-cell Slide</vt:lpstr>
      <vt:lpstr>PowerPoint-presentatie</vt:lpstr>
      <vt:lpstr>PowerPoint-presentatie</vt:lpstr>
      <vt:lpstr>PowerPoint-presentatie</vt:lpstr>
      <vt:lpstr>Wat is congestie?</vt:lpstr>
      <vt:lpstr>Wat is congestie?</vt:lpstr>
      <vt:lpstr>File op de afrit</vt:lpstr>
      <vt:lpstr>File op de afrit</vt:lpstr>
      <vt:lpstr>File op de oprit</vt:lpstr>
      <vt:lpstr>File op de oprit</vt:lpstr>
      <vt:lpstr>PowerPoint-presentatie</vt:lpstr>
      <vt:lpstr>Piekgrafiek</vt:lpstr>
      <vt:lpstr>Wat doet de netbeheerder aan congestie</vt:lpstr>
      <vt:lpstr>Hoe staat het met congestie in Someren</vt:lpstr>
      <vt:lpstr>De Buurtnet App</vt:lpstr>
      <vt:lpstr>PowerPoint-presentatie</vt:lpstr>
      <vt:lpstr>PowerPoint-presentatie</vt:lpstr>
      <vt:lpstr>Resultaten van de pilot</vt:lpstr>
      <vt:lpstr>De pilot van komende winter</vt:lpstr>
      <vt:lpstr>PowerPoint-presentatie</vt:lpstr>
      <vt:lpstr>PowerPoint-presentatie</vt:lpstr>
      <vt:lpstr>PowerPoint-presentatie</vt:lpstr>
      <vt:lpstr>PowerPoint-presentatie</vt:lpstr>
      <vt:lpstr>PowerPoint-presentatie</vt:lpstr>
      <vt:lpstr>Deelnemen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up, Giedo</dc:creator>
  <cp:lastModifiedBy>Stoel, Anne</cp:lastModifiedBy>
  <cp:revision>19</cp:revision>
  <dcterms:created xsi:type="dcterms:W3CDTF">2025-06-28T08:58:22Z</dcterms:created>
  <dcterms:modified xsi:type="dcterms:W3CDTF">2025-10-07T15:1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BA9FC64644BF47982A824A9C9A3BD3</vt:lpwstr>
  </property>
  <property fmtid="{D5CDD505-2E9C-101B-9397-08002B2CF9AE}" pid="3" name="NXPowerLiteLastOptimized">
    <vt:lpwstr>6687193</vt:lpwstr>
  </property>
  <property fmtid="{D5CDD505-2E9C-101B-9397-08002B2CF9AE}" pid="4" name="NXPowerLiteSettings">
    <vt:lpwstr>C700052003A000</vt:lpwstr>
  </property>
  <property fmtid="{D5CDD505-2E9C-101B-9397-08002B2CF9AE}" pid="5" name="NXPowerLiteVersion">
    <vt:lpwstr>D8.0.11</vt:lpwstr>
  </property>
</Properties>
</file>